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23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</p:sldMasterIdLst>
  <p:notesMasterIdLst>
    <p:notesMasterId r:id="rId56"/>
  </p:notesMasterIdLst>
  <p:handoutMasterIdLst>
    <p:handoutMasterId r:id="rId57"/>
  </p:handoutMasterIdLst>
  <p:sldIdLst>
    <p:sldId id="302" r:id="rId3"/>
    <p:sldId id="303" r:id="rId4"/>
    <p:sldId id="345" r:id="rId5"/>
    <p:sldId id="347" r:id="rId6"/>
    <p:sldId id="304" r:id="rId7"/>
    <p:sldId id="305" r:id="rId8"/>
    <p:sldId id="358" r:id="rId9"/>
    <p:sldId id="306" r:id="rId10"/>
    <p:sldId id="307" r:id="rId11"/>
    <p:sldId id="308" r:id="rId12"/>
    <p:sldId id="309" r:id="rId13"/>
    <p:sldId id="368" r:id="rId14"/>
    <p:sldId id="376" r:id="rId15"/>
    <p:sldId id="371" r:id="rId16"/>
    <p:sldId id="375" r:id="rId17"/>
    <p:sldId id="372" r:id="rId18"/>
    <p:sldId id="373" r:id="rId19"/>
    <p:sldId id="374" r:id="rId20"/>
    <p:sldId id="348" r:id="rId21"/>
    <p:sldId id="340" r:id="rId22"/>
    <p:sldId id="341" r:id="rId23"/>
    <p:sldId id="339" r:id="rId24"/>
    <p:sldId id="344" r:id="rId25"/>
    <p:sldId id="314" r:id="rId26"/>
    <p:sldId id="351" r:id="rId27"/>
    <p:sldId id="328" r:id="rId28"/>
    <p:sldId id="338" r:id="rId29"/>
    <p:sldId id="316" r:id="rId30"/>
    <p:sldId id="317" r:id="rId31"/>
    <p:sldId id="318" r:id="rId32"/>
    <p:sldId id="352" r:id="rId33"/>
    <p:sldId id="319" r:id="rId34"/>
    <p:sldId id="321" r:id="rId35"/>
    <p:sldId id="353" r:id="rId36"/>
    <p:sldId id="322" r:id="rId37"/>
    <p:sldId id="323" r:id="rId38"/>
    <p:sldId id="324" r:id="rId39"/>
    <p:sldId id="325" r:id="rId40"/>
    <p:sldId id="337" r:id="rId41"/>
    <p:sldId id="377" r:id="rId42"/>
    <p:sldId id="326" r:id="rId43"/>
    <p:sldId id="327" r:id="rId44"/>
    <p:sldId id="333" r:id="rId45"/>
    <p:sldId id="330" r:id="rId46"/>
    <p:sldId id="331" r:id="rId47"/>
    <p:sldId id="332" r:id="rId48"/>
    <p:sldId id="334" r:id="rId49"/>
    <p:sldId id="335" r:id="rId50"/>
    <p:sldId id="354" r:id="rId51"/>
    <p:sldId id="336" r:id="rId52"/>
    <p:sldId id="355" r:id="rId53"/>
    <p:sldId id="343" r:id="rId54"/>
    <p:sldId id="356" r:id="rId55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BCC"/>
    <a:srgbClr val="3399FF"/>
    <a:srgbClr val="0099FF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33" autoAdjust="0"/>
    <p:restoredTop sz="76021" autoAdjust="0"/>
  </p:normalViewPr>
  <p:slideViewPr>
    <p:cSldViewPr>
      <p:cViewPr>
        <p:scale>
          <a:sx n="62" d="100"/>
          <a:sy n="62" d="100"/>
        </p:scale>
        <p:origin x="-756" y="-10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356"/>
    </p:cViewPr>
  </p:sorterViewPr>
  <p:notesViewPr>
    <p:cSldViewPr>
      <p:cViewPr varScale="1">
        <p:scale>
          <a:sx n="77" d="100"/>
          <a:sy n="77" d="100"/>
        </p:scale>
        <p:origin x="-209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handoutMaster" Target="handoutMasters/handoutMaster1.xml"/><Relationship Id="rId61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2833E8-57A4-473A-BEE4-60B6EF5E382C}" type="doc">
      <dgm:prSet loTypeId="urn:microsoft.com/office/officeart/2005/8/layout/radial1" loCatId="cycle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fr-FR"/>
        </a:p>
      </dgm:t>
    </dgm:pt>
    <dgm:pt modelId="{1117FD69-0603-4D0E-82D7-06C62CA8DE3C}">
      <dgm:prSet phldrT="[Texte]"/>
      <dgm:spPr/>
      <dgm:t>
        <a:bodyPr/>
        <a:lstStyle/>
        <a:p>
          <a:r>
            <a:rPr lang="fr-FR" dirty="0" err="1" smtClean="0"/>
            <a:t>Skill</a:t>
          </a:r>
          <a:r>
            <a:rPr lang="fr-FR" dirty="0" smtClean="0"/>
            <a:t> Groups</a:t>
          </a:r>
          <a:endParaRPr lang="fr-FR" dirty="0"/>
        </a:p>
      </dgm:t>
    </dgm:pt>
    <dgm:pt modelId="{35C0ED8A-EC85-4DF4-9CDC-18C5324EEE05}" type="parTrans" cxnId="{ADCB94F9-735D-436C-8804-EE745A1DACF6}">
      <dgm:prSet/>
      <dgm:spPr/>
      <dgm:t>
        <a:bodyPr/>
        <a:lstStyle/>
        <a:p>
          <a:endParaRPr lang="fr-FR"/>
        </a:p>
      </dgm:t>
    </dgm:pt>
    <dgm:pt modelId="{3FBC200B-700F-443D-B996-E4564520D8B8}" type="sibTrans" cxnId="{ADCB94F9-735D-436C-8804-EE745A1DACF6}">
      <dgm:prSet/>
      <dgm:spPr/>
      <dgm:t>
        <a:bodyPr/>
        <a:lstStyle/>
        <a:p>
          <a:endParaRPr lang="fr-FR"/>
        </a:p>
      </dgm:t>
    </dgm:pt>
    <dgm:pt modelId="{E6111ACA-7D17-48FC-9C33-B3F28F5D181F}">
      <dgm:prSet phldrT="[Texte]"/>
      <dgm:spPr/>
      <dgm:t>
        <a:bodyPr/>
        <a:lstStyle/>
        <a:p>
          <a:r>
            <a:rPr lang="fr-FR" b="1" dirty="0" smtClean="0"/>
            <a:t>Finance Assurance</a:t>
          </a:r>
          <a:r>
            <a:rPr lang="fr-FR" dirty="0" smtClean="0"/>
            <a:t/>
          </a:r>
          <a:br>
            <a:rPr lang="fr-FR" dirty="0" smtClean="0"/>
          </a:br>
          <a:r>
            <a:rPr lang="fr-FR" dirty="0" smtClean="0"/>
            <a:t>Habib </a:t>
          </a:r>
          <a:r>
            <a:rPr lang="fr-FR" dirty="0" err="1" smtClean="0"/>
            <a:t>Zouine</a:t>
          </a:r>
          <a:endParaRPr lang="fr-FR" dirty="0"/>
        </a:p>
      </dgm:t>
    </dgm:pt>
    <dgm:pt modelId="{905DCC02-3A56-4A88-8D87-7817AFC54E68}" type="parTrans" cxnId="{3C3E1074-6F12-4AD4-A477-901E3A8CA7B2}">
      <dgm:prSet/>
      <dgm:spPr/>
      <dgm:t>
        <a:bodyPr/>
        <a:lstStyle/>
        <a:p>
          <a:endParaRPr lang="fr-FR"/>
        </a:p>
      </dgm:t>
    </dgm:pt>
    <dgm:pt modelId="{12BFFA24-2AB3-4806-A378-F5DC5B07CE5F}" type="sibTrans" cxnId="{3C3E1074-6F12-4AD4-A477-901E3A8CA7B2}">
      <dgm:prSet/>
      <dgm:spPr/>
      <dgm:t>
        <a:bodyPr/>
        <a:lstStyle/>
        <a:p>
          <a:endParaRPr lang="fr-FR"/>
        </a:p>
      </dgm:t>
    </dgm:pt>
    <dgm:pt modelId="{7075F094-2F0F-4657-AD27-24ACFB41BC7B}">
      <dgm:prSet phldrT="[Texte]"/>
      <dgm:spPr/>
      <dgm:t>
        <a:bodyPr/>
        <a:lstStyle/>
        <a:p>
          <a:r>
            <a:rPr lang="fr-FR" b="1" dirty="0" smtClean="0"/>
            <a:t>Telecom et Media</a:t>
          </a:r>
          <a:r>
            <a:rPr lang="fr-FR" dirty="0" smtClean="0"/>
            <a:t/>
          </a:r>
          <a:br>
            <a:rPr lang="fr-FR" dirty="0" smtClean="0"/>
          </a:br>
          <a:r>
            <a:rPr lang="fr-FR" dirty="0" smtClean="0"/>
            <a:t>Imane </a:t>
          </a:r>
          <a:r>
            <a:rPr lang="fr-FR" dirty="0" err="1" smtClean="0"/>
            <a:t>Hlil</a:t>
          </a:r>
          <a:endParaRPr lang="fr-FR" dirty="0"/>
        </a:p>
      </dgm:t>
    </dgm:pt>
    <dgm:pt modelId="{503FFA08-8AC4-4872-83CB-8D62E2F3C38B}" type="parTrans" cxnId="{A470FA37-7D6C-497A-83EF-C26D175E1AC3}">
      <dgm:prSet/>
      <dgm:spPr/>
      <dgm:t>
        <a:bodyPr/>
        <a:lstStyle/>
        <a:p>
          <a:endParaRPr lang="fr-FR"/>
        </a:p>
      </dgm:t>
    </dgm:pt>
    <dgm:pt modelId="{69F27D66-DC20-4C85-98FA-43827B195832}" type="sibTrans" cxnId="{A470FA37-7D6C-497A-83EF-C26D175E1AC3}">
      <dgm:prSet/>
      <dgm:spPr/>
      <dgm:t>
        <a:bodyPr/>
        <a:lstStyle/>
        <a:p>
          <a:endParaRPr lang="fr-FR"/>
        </a:p>
      </dgm:t>
    </dgm:pt>
    <dgm:pt modelId="{CE7C7EB8-F18B-464A-A499-D05DCBC083C3}">
      <dgm:prSet phldrT="[Texte]"/>
      <dgm:spPr/>
      <dgm:t>
        <a:bodyPr/>
        <a:lstStyle/>
        <a:p>
          <a:r>
            <a:rPr lang="fr-FR" b="1" dirty="0" smtClean="0"/>
            <a:t>Services</a:t>
          </a:r>
          <a:r>
            <a:rPr lang="fr-FR" dirty="0" smtClean="0"/>
            <a:t/>
          </a:r>
          <a:br>
            <a:rPr lang="fr-FR" dirty="0" smtClean="0"/>
          </a:br>
          <a:r>
            <a:rPr lang="fr-FR" dirty="0" smtClean="0"/>
            <a:t>Martins pires</a:t>
          </a:r>
          <a:endParaRPr lang="fr-FR" dirty="0"/>
        </a:p>
      </dgm:t>
    </dgm:pt>
    <dgm:pt modelId="{A8358FB8-BF7F-481C-8077-90461C695BE3}" type="parTrans" cxnId="{0EE4C52A-BCD0-4D30-AB25-6E71A00C8126}">
      <dgm:prSet/>
      <dgm:spPr/>
      <dgm:t>
        <a:bodyPr/>
        <a:lstStyle/>
        <a:p>
          <a:endParaRPr lang="fr-FR"/>
        </a:p>
      </dgm:t>
    </dgm:pt>
    <dgm:pt modelId="{8BE44B14-E3A2-471B-9E2A-3A11FBC7A180}" type="sibTrans" cxnId="{0EE4C52A-BCD0-4D30-AB25-6E71A00C8126}">
      <dgm:prSet/>
      <dgm:spPr/>
      <dgm:t>
        <a:bodyPr/>
        <a:lstStyle/>
        <a:p>
          <a:endParaRPr lang="fr-FR"/>
        </a:p>
      </dgm:t>
    </dgm:pt>
    <dgm:pt modelId="{85AE4113-D707-4DF9-8A48-5620B8348398}">
      <dgm:prSet phldrT="[Texte]"/>
      <dgm:spPr/>
      <dgm:t>
        <a:bodyPr/>
        <a:lstStyle/>
        <a:p>
          <a:r>
            <a:rPr lang="fr-FR" b="1" dirty="0" smtClean="0"/>
            <a:t>Industrie et Distribution </a:t>
          </a:r>
          <a:r>
            <a:rPr lang="fr-FR" dirty="0" smtClean="0"/>
            <a:t/>
          </a:r>
          <a:br>
            <a:rPr lang="fr-FR" dirty="0" smtClean="0"/>
          </a:br>
          <a:r>
            <a:rPr lang="fr-FR" dirty="0" smtClean="0"/>
            <a:t>Mouncef </a:t>
          </a:r>
          <a:r>
            <a:rPr lang="fr-FR" dirty="0" err="1" smtClean="0"/>
            <a:t>Nejjary</a:t>
          </a:r>
          <a:endParaRPr lang="fr-FR" dirty="0"/>
        </a:p>
      </dgm:t>
    </dgm:pt>
    <dgm:pt modelId="{711F5348-987A-4CC1-82B1-D8F00EFCA03E}" type="parTrans" cxnId="{FC9DF709-BD0B-4808-8C27-159A45A6582F}">
      <dgm:prSet/>
      <dgm:spPr/>
      <dgm:t>
        <a:bodyPr/>
        <a:lstStyle/>
        <a:p>
          <a:endParaRPr lang="fr-FR"/>
        </a:p>
      </dgm:t>
    </dgm:pt>
    <dgm:pt modelId="{05B4BD53-2BA9-45A5-8221-825D5E29CC92}" type="sibTrans" cxnId="{FC9DF709-BD0B-4808-8C27-159A45A6582F}">
      <dgm:prSet/>
      <dgm:spPr/>
      <dgm:t>
        <a:bodyPr/>
        <a:lstStyle/>
        <a:p>
          <a:endParaRPr lang="fr-FR"/>
        </a:p>
      </dgm:t>
    </dgm:pt>
    <dgm:pt modelId="{140ED447-6A36-4829-8A5A-12B74914C451}">
      <dgm:prSet phldrT="[Texte]"/>
      <dgm:spPr/>
      <dgm:t>
        <a:bodyPr/>
        <a:lstStyle/>
        <a:p>
          <a:r>
            <a:rPr lang="fr-FR" b="1" dirty="0" smtClean="0"/>
            <a:t>Horizon</a:t>
          </a:r>
          <a:r>
            <a:rPr lang="fr-FR" dirty="0" smtClean="0"/>
            <a:t/>
          </a:r>
          <a:br>
            <a:rPr lang="fr-FR" dirty="0" smtClean="0"/>
          </a:br>
          <a:r>
            <a:rPr lang="fr-FR" dirty="0" smtClean="0"/>
            <a:t>Adnane </a:t>
          </a:r>
          <a:r>
            <a:rPr lang="fr-FR" dirty="0" err="1" smtClean="0"/>
            <a:t>Balboul</a:t>
          </a:r>
          <a:r>
            <a:rPr lang="fr-FR" dirty="0" smtClean="0"/>
            <a:t> </a:t>
          </a:r>
          <a:endParaRPr lang="fr-FR" dirty="0"/>
        </a:p>
      </dgm:t>
    </dgm:pt>
    <dgm:pt modelId="{2A55B3F3-A19F-4066-96B7-AF945DA7FF42}" type="parTrans" cxnId="{32194611-4D0E-4ADF-895B-E02379BE90B7}">
      <dgm:prSet/>
      <dgm:spPr/>
      <dgm:t>
        <a:bodyPr/>
        <a:lstStyle/>
        <a:p>
          <a:endParaRPr lang="fr-FR"/>
        </a:p>
      </dgm:t>
    </dgm:pt>
    <dgm:pt modelId="{D6A5AFC2-2F03-4091-906D-A0813A260289}" type="sibTrans" cxnId="{32194611-4D0E-4ADF-895B-E02379BE90B7}">
      <dgm:prSet/>
      <dgm:spPr/>
      <dgm:t>
        <a:bodyPr/>
        <a:lstStyle/>
        <a:p>
          <a:endParaRPr lang="fr-FR"/>
        </a:p>
      </dgm:t>
    </dgm:pt>
    <dgm:pt modelId="{FA185F1B-D81D-41FF-9392-15A54D16B8CE}">
      <dgm:prSet phldrT="[Texte]"/>
      <dgm:spPr/>
      <dgm:t>
        <a:bodyPr/>
        <a:lstStyle/>
        <a:p>
          <a:r>
            <a:rPr lang="fr-FR" b="1" dirty="0" smtClean="0"/>
            <a:t>B-Tech</a:t>
          </a:r>
          <a:r>
            <a:rPr lang="fr-FR" dirty="0" smtClean="0"/>
            <a:t/>
          </a:r>
          <a:br>
            <a:rPr lang="fr-FR" dirty="0" smtClean="0"/>
          </a:br>
          <a:r>
            <a:rPr lang="fr-FR" dirty="0" err="1" smtClean="0"/>
            <a:t>Adel</a:t>
          </a:r>
          <a:r>
            <a:rPr lang="fr-FR" dirty="0" smtClean="0"/>
            <a:t> </a:t>
          </a:r>
          <a:r>
            <a:rPr lang="fr-FR" dirty="0" err="1" smtClean="0"/>
            <a:t>Massrali</a:t>
          </a:r>
          <a:endParaRPr lang="fr-FR" dirty="0"/>
        </a:p>
      </dgm:t>
    </dgm:pt>
    <dgm:pt modelId="{703D86A1-04C3-46BA-8AD3-D7E36F611199}" type="parTrans" cxnId="{E9424444-AC1E-4E16-9D5B-2D98FF5206B0}">
      <dgm:prSet/>
      <dgm:spPr/>
      <dgm:t>
        <a:bodyPr/>
        <a:lstStyle/>
        <a:p>
          <a:endParaRPr lang="fr-FR"/>
        </a:p>
      </dgm:t>
    </dgm:pt>
    <dgm:pt modelId="{48D6AC13-903C-4D14-AEB5-B3ECC8C28D0B}" type="sibTrans" cxnId="{E9424444-AC1E-4E16-9D5B-2D98FF5206B0}">
      <dgm:prSet/>
      <dgm:spPr/>
      <dgm:t>
        <a:bodyPr/>
        <a:lstStyle/>
        <a:p>
          <a:endParaRPr lang="fr-FR"/>
        </a:p>
      </dgm:t>
    </dgm:pt>
    <dgm:pt modelId="{1546F7B5-E5C0-46BE-9E77-A667085477EE}">
      <dgm:prSet phldrT="[Texte]"/>
      <dgm:spPr/>
      <dgm:t>
        <a:bodyPr/>
        <a:lstStyle/>
        <a:p>
          <a:r>
            <a:rPr lang="fr-FR" b="1" dirty="0" err="1" smtClean="0"/>
            <a:t>Skill</a:t>
          </a:r>
          <a:r>
            <a:rPr lang="fr-FR" b="1" dirty="0" smtClean="0"/>
            <a:t> </a:t>
          </a:r>
          <a:r>
            <a:rPr lang="fr-FR" b="1" dirty="0" err="1" smtClean="0"/>
            <a:t>Shared</a:t>
          </a:r>
          <a:r>
            <a:rPr lang="fr-FR" b="1" dirty="0" smtClean="0"/>
            <a:t> Services</a:t>
          </a:r>
          <a:r>
            <a:rPr lang="fr-FR" dirty="0" smtClean="0"/>
            <a:t/>
          </a:r>
          <a:br>
            <a:rPr lang="fr-FR" dirty="0" smtClean="0"/>
          </a:br>
          <a:r>
            <a:rPr lang="fr-FR" dirty="0" smtClean="0"/>
            <a:t>Nacera </a:t>
          </a:r>
          <a:r>
            <a:rPr lang="fr-FR" dirty="0" err="1" smtClean="0"/>
            <a:t>Kherbouche</a:t>
          </a:r>
          <a:endParaRPr lang="fr-FR" dirty="0"/>
        </a:p>
      </dgm:t>
    </dgm:pt>
    <dgm:pt modelId="{8194BFFE-8B7E-4F18-B5CC-C3D65011C7D8}" type="parTrans" cxnId="{66FE098B-E507-4831-BDDB-703A61BCE70A}">
      <dgm:prSet/>
      <dgm:spPr/>
      <dgm:t>
        <a:bodyPr/>
        <a:lstStyle/>
        <a:p>
          <a:endParaRPr lang="fr-FR"/>
        </a:p>
      </dgm:t>
    </dgm:pt>
    <dgm:pt modelId="{98CFEBB5-F584-4CC9-9F54-6FB21F45F28F}" type="sibTrans" cxnId="{66FE098B-E507-4831-BDDB-703A61BCE70A}">
      <dgm:prSet/>
      <dgm:spPr/>
      <dgm:t>
        <a:bodyPr/>
        <a:lstStyle/>
        <a:p>
          <a:endParaRPr lang="fr-FR"/>
        </a:p>
      </dgm:t>
    </dgm:pt>
    <dgm:pt modelId="{D759F690-4E4F-4E59-8AF6-667D8B75757F}" type="pres">
      <dgm:prSet presAssocID="{082833E8-57A4-473A-BEE4-60B6EF5E382C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85081D27-ECBE-4FEC-9FC3-DBFA5C3D5B02}" type="pres">
      <dgm:prSet presAssocID="{1117FD69-0603-4D0E-82D7-06C62CA8DE3C}" presName="centerShape" presStyleLbl="node0" presStyleIdx="0" presStyleCnt="1" custScaleX="130242" custScaleY="128847"/>
      <dgm:spPr/>
      <dgm:t>
        <a:bodyPr/>
        <a:lstStyle/>
        <a:p>
          <a:endParaRPr lang="fr-FR"/>
        </a:p>
      </dgm:t>
    </dgm:pt>
    <dgm:pt modelId="{246DA683-4E05-49E7-A326-AFEB5321E182}" type="pres">
      <dgm:prSet presAssocID="{905DCC02-3A56-4A88-8D87-7817AFC54E68}" presName="Name9" presStyleLbl="parChTrans1D2" presStyleIdx="0" presStyleCnt="7"/>
      <dgm:spPr/>
      <dgm:t>
        <a:bodyPr/>
        <a:lstStyle/>
        <a:p>
          <a:endParaRPr lang="fr-FR"/>
        </a:p>
      </dgm:t>
    </dgm:pt>
    <dgm:pt modelId="{C548793D-AEF5-40C7-8E06-7E2038059727}" type="pres">
      <dgm:prSet presAssocID="{905DCC02-3A56-4A88-8D87-7817AFC54E68}" presName="connTx" presStyleLbl="parChTrans1D2" presStyleIdx="0" presStyleCnt="7"/>
      <dgm:spPr/>
      <dgm:t>
        <a:bodyPr/>
        <a:lstStyle/>
        <a:p>
          <a:endParaRPr lang="fr-FR"/>
        </a:p>
      </dgm:t>
    </dgm:pt>
    <dgm:pt modelId="{71C78D12-DE76-48B1-939D-CBC390C12618}" type="pres">
      <dgm:prSet presAssocID="{E6111ACA-7D17-48FC-9C33-B3F28F5D181F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477E18B-C8C6-49EA-A5A9-084A64DDD9A7}" type="pres">
      <dgm:prSet presAssocID="{503FFA08-8AC4-4872-83CB-8D62E2F3C38B}" presName="Name9" presStyleLbl="parChTrans1D2" presStyleIdx="1" presStyleCnt="7"/>
      <dgm:spPr/>
      <dgm:t>
        <a:bodyPr/>
        <a:lstStyle/>
        <a:p>
          <a:endParaRPr lang="fr-FR"/>
        </a:p>
      </dgm:t>
    </dgm:pt>
    <dgm:pt modelId="{3AFD9F3F-D2D6-421B-812C-06E6A27EA050}" type="pres">
      <dgm:prSet presAssocID="{503FFA08-8AC4-4872-83CB-8D62E2F3C38B}" presName="connTx" presStyleLbl="parChTrans1D2" presStyleIdx="1" presStyleCnt="7"/>
      <dgm:spPr/>
      <dgm:t>
        <a:bodyPr/>
        <a:lstStyle/>
        <a:p>
          <a:endParaRPr lang="fr-FR"/>
        </a:p>
      </dgm:t>
    </dgm:pt>
    <dgm:pt modelId="{A053593C-A915-4CFD-8E35-023FDB494DA8}" type="pres">
      <dgm:prSet presAssocID="{7075F094-2F0F-4657-AD27-24ACFB41BC7B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B600EA1-C6F7-45F6-A61A-15FFBA2E56FB}" type="pres">
      <dgm:prSet presAssocID="{A8358FB8-BF7F-481C-8077-90461C695BE3}" presName="Name9" presStyleLbl="parChTrans1D2" presStyleIdx="2" presStyleCnt="7"/>
      <dgm:spPr/>
      <dgm:t>
        <a:bodyPr/>
        <a:lstStyle/>
        <a:p>
          <a:endParaRPr lang="fr-FR"/>
        </a:p>
      </dgm:t>
    </dgm:pt>
    <dgm:pt modelId="{D172FCA5-8FB8-4648-9A72-3A825775E570}" type="pres">
      <dgm:prSet presAssocID="{A8358FB8-BF7F-481C-8077-90461C695BE3}" presName="connTx" presStyleLbl="parChTrans1D2" presStyleIdx="2" presStyleCnt="7"/>
      <dgm:spPr/>
      <dgm:t>
        <a:bodyPr/>
        <a:lstStyle/>
        <a:p>
          <a:endParaRPr lang="fr-FR"/>
        </a:p>
      </dgm:t>
    </dgm:pt>
    <dgm:pt modelId="{AB151A99-502A-40BF-8C56-803AA5616BDE}" type="pres">
      <dgm:prSet presAssocID="{CE7C7EB8-F18B-464A-A499-D05DCBC083C3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7631102-C36A-41B3-B5AE-9DABD9FBAA4F}" type="pres">
      <dgm:prSet presAssocID="{711F5348-987A-4CC1-82B1-D8F00EFCA03E}" presName="Name9" presStyleLbl="parChTrans1D2" presStyleIdx="3" presStyleCnt="7"/>
      <dgm:spPr/>
      <dgm:t>
        <a:bodyPr/>
        <a:lstStyle/>
        <a:p>
          <a:endParaRPr lang="fr-FR"/>
        </a:p>
      </dgm:t>
    </dgm:pt>
    <dgm:pt modelId="{C9E7B677-7EDC-41B2-ACFB-23D189B0BF41}" type="pres">
      <dgm:prSet presAssocID="{711F5348-987A-4CC1-82B1-D8F00EFCA03E}" presName="connTx" presStyleLbl="parChTrans1D2" presStyleIdx="3" presStyleCnt="7"/>
      <dgm:spPr/>
      <dgm:t>
        <a:bodyPr/>
        <a:lstStyle/>
        <a:p>
          <a:endParaRPr lang="fr-FR"/>
        </a:p>
      </dgm:t>
    </dgm:pt>
    <dgm:pt modelId="{1E06C319-9D46-4225-B111-B576CF24AC8D}" type="pres">
      <dgm:prSet presAssocID="{85AE4113-D707-4DF9-8A48-5620B8348398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665A012-043E-4290-A68E-F74E8D2D817C}" type="pres">
      <dgm:prSet presAssocID="{2A55B3F3-A19F-4066-96B7-AF945DA7FF42}" presName="Name9" presStyleLbl="parChTrans1D2" presStyleIdx="4" presStyleCnt="7"/>
      <dgm:spPr/>
      <dgm:t>
        <a:bodyPr/>
        <a:lstStyle/>
        <a:p>
          <a:endParaRPr lang="fr-FR"/>
        </a:p>
      </dgm:t>
    </dgm:pt>
    <dgm:pt modelId="{95B9F9A8-9D21-4D68-9956-CC64F0BE5179}" type="pres">
      <dgm:prSet presAssocID="{2A55B3F3-A19F-4066-96B7-AF945DA7FF42}" presName="connTx" presStyleLbl="parChTrans1D2" presStyleIdx="4" presStyleCnt="7"/>
      <dgm:spPr/>
      <dgm:t>
        <a:bodyPr/>
        <a:lstStyle/>
        <a:p>
          <a:endParaRPr lang="fr-FR"/>
        </a:p>
      </dgm:t>
    </dgm:pt>
    <dgm:pt modelId="{9B067ADD-6D5E-4E75-8951-39201ED59104}" type="pres">
      <dgm:prSet presAssocID="{140ED447-6A36-4829-8A5A-12B74914C451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8B32897-9880-4B29-AC37-B88B44841231}" type="pres">
      <dgm:prSet presAssocID="{703D86A1-04C3-46BA-8AD3-D7E36F611199}" presName="Name9" presStyleLbl="parChTrans1D2" presStyleIdx="5" presStyleCnt="7"/>
      <dgm:spPr/>
      <dgm:t>
        <a:bodyPr/>
        <a:lstStyle/>
        <a:p>
          <a:endParaRPr lang="fr-FR"/>
        </a:p>
      </dgm:t>
    </dgm:pt>
    <dgm:pt modelId="{17E9282B-DDC6-4887-A9E7-27877DE035F5}" type="pres">
      <dgm:prSet presAssocID="{703D86A1-04C3-46BA-8AD3-D7E36F611199}" presName="connTx" presStyleLbl="parChTrans1D2" presStyleIdx="5" presStyleCnt="7"/>
      <dgm:spPr/>
      <dgm:t>
        <a:bodyPr/>
        <a:lstStyle/>
        <a:p>
          <a:endParaRPr lang="fr-FR"/>
        </a:p>
      </dgm:t>
    </dgm:pt>
    <dgm:pt modelId="{1F618EC3-E88C-429F-B961-48249D9C7035}" type="pres">
      <dgm:prSet presAssocID="{FA185F1B-D81D-41FF-9392-15A54D16B8CE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016968D-D810-41D2-A334-1FC3428046F9}" type="pres">
      <dgm:prSet presAssocID="{8194BFFE-8B7E-4F18-B5CC-C3D65011C7D8}" presName="Name9" presStyleLbl="parChTrans1D2" presStyleIdx="6" presStyleCnt="7"/>
      <dgm:spPr/>
      <dgm:t>
        <a:bodyPr/>
        <a:lstStyle/>
        <a:p>
          <a:endParaRPr lang="fr-FR"/>
        </a:p>
      </dgm:t>
    </dgm:pt>
    <dgm:pt modelId="{24A0B348-6230-4A7C-A0B9-3562353B4903}" type="pres">
      <dgm:prSet presAssocID="{8194BFFE-8B7E-4F18-B5CC-C3D65011C7D8}" presName="connTx" presStyleLbl="parChTrans1D2" presStyleIdx="6" presStyleCnt="7"/>
      <dgm:spPr/>
      <dgm:t>
        <a:bodyPr/>
        <a:lstStyle/>
        <a:p>
          <a:endParaRPr lang="fr-FR"/>
        </a:p>
      </dgm:t>
    </dgm:pt>
    <dgm:pt modelId="{BB655561-AE12-47F4-BAFB-AEBFDB311B9C}" type="pres">
      <dgm:prSet presAssocID="{1546F7B5-E5C0-46BE-9E77-A667085477EE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B8722FBB-1571-4EC0-9433-FC74675D0775}" type="presOf" srcId="{8194BFFE-8B7E-4F18-B5CC-C3D65011C7D8}" destId="{C016968D-D810-41D2-A334-1FC3428046F9}" srcOrd="0" destOrd="0" presId="urn:microsoft.com/office/officeart/2005/8/layout/radial1"/>
    <dgm:cxn modelId="{3C3E1074-6F12-4AD4-A477-901E3A8CA7B2}" srcId="{1117FD69-0603-4D0E-82D7-06C62CA8DE3C}" destId="{E6111ACA-7D17-48FC-9C33-B3F28F5D181F}" srcOrd="0" destOrd="0" parTransId="{905DCC02-3A56-4A88-8D87-7817AFC54E68}" sibTransId="{12BFFA24-2AB3-4806-A378-F5DC5B07CE5F}"/>
    <dgm:cxn modelId="{EDA12030-EE86-4E5D-9B0F-9F70362A0B84}" type="presOf" srcId="{711F5348-987A-4CC1-82B1-D8F00EFCA03E}" destId="{F7631102-C36A-41B3-B5AE-9DABD9FBAA4F}" srcOrd="0" destOrd="0" presId="urn:microsoft.com/office/officeart/2005/8/layout/radial1"/>
    <dgm:cxn modelId="{F7EA9673-F486-45ED-A4EA-0C4A45DA8D35}" type="presOf" srcId="{140ED447-6A36-4829-8A5A-12B74914C451}" destId="{9B067ADD-6D5E-4E75-8951-39201ED59104}" srcOrd="0" destOrd="0" presId="urn:microsoft.com/office/officeart/2005/8/layout/radial1"/>
    <dgm:cxn modelId="{5E561E7B-E8E5-42F2-AAB8-3AB9A0382730}" type="presOf" srcId="{082833E8-57A4-473A-BEE4-60B6EF5E382C}" destId="{D759F690-4E4F-4E59-8AF6-667D8B75757F}" srcOrd="0" destOrd="0" presId="urn:microsoft.com/office/officeart/2005/8/layout/radial1"/>
    <dgm:cxn modelId="{01A13810-69F9-42EE-9F5B-8172497CF63C}" type="presOf" srcId="{FA185F1B-D81D-41FF-9392-15A54D16B8CE}" destId="{1F618EC3-E88C-429F-B961-48249D9C7035}" srcOrd="0" destOrd="0" presId="urn:microsoft.com/office/officeart/2005/8/layout/radial1"/>
    <dgm:cxn modelId="{657F464D-2EA0-49C2-BA0A-02E39B605AEE}" type="presOf" srcId="{CE7C7EB8-F18B-464A-A499-D05DCBC083C3}" destId="{AB151A99-502A-40BF-8C56-803AA5616BDE}" srcOrd="0" destOrd="0" presId="urn:microsoft.com/office/officeart/2005/8/layout/radial1"/>
    <dgm:cxn modelId="{FC9DF709-BD0B-4808-8C27-159A45A6582F}" srcId="{1117FD69-0603-4D0E-82D7-06C62CA8DE3C}" destId="{85AE4113-D707-4DF9-8A48-5620B8348398}" srcOrd="3" destOrd="0" parTransId="{711F5348-987A-4CC1-82B1-D8F00EFCA03E}" sibTransId="{05B4BD53-2BA9-45A5-8221-825D5E29CC92}"/>
    <dgm:cxn modelId="{0EE4C52A-BCD0-4D30-AB25-6E71A00C8126}" srcId="{1117FD69-0603-4D0E-82D7-06C62CA8DE3C}" destId="{CE7C7EB8-F18B-464A-A499-D05DCBC083C3}" srcOrd="2" destOrd="0" parTransId="{A8358FB8-BF7F-481C-8077-90461C695BE3}" sibTransId="{8BE44B14-E3A2-471B-9E2A-3A11FBC7A180}"/>
    <dgm:cxn modelId="{6C332C41-A0FE-42F2-8AF4-2CF5EAB1B16D}" type="presOf" srcId="{905DCC02-3A56-4A88-8D87-7817AFC54E68}" destId="{C548793D-AEF5-40C7-8E06-7E2038059727}" srcOrd="1" destOrd="0" presId="urn:microsoft.com/office/officeart/2005/8/layout/radial1"/>
    <dgm:cxn modelId="{BCC9141B-9F22-45EC-891B-223ACDEABE5C}" type="presOf" srcId="{703D86A1-04C3-46BA-8AD3-D7E36F611199}" destId="{17E9282B-DDC6-4887-A9E7-27877DE035F5}" srcOrd="1" destOrd="0" presId="urn:microsoft.com/office/officeart/2005/8/layout/radial1"/>
    <dgm:cxn modelId="{FAE9621E-C28A-4017-86CD-3A3479E2F0B3}" type="presOf" srcId="{503FFA08-8AC4-4872-83CB-8D62E2F3C38B}" destId="{3AFD9F3F-D2D6-421B-812C-06E6A27EA050}" srcOrd="1" destOrd="0" presId="urn:microsoft.com/office/officeart/2005/8/layout/radial1"/>
    <dgm:cxn modelId="{C0E9C168-25D7-46FB-9075-3C5029416785}" type="presOf" srcId="{7075F094-2F0F-4657-AD27-24ACFB41BC7B}" destId="{A053593C-A915-4CFD-8E35-023FDB494DA8}" srcOrd="0" destOrd="0" presId="urn:microsoft.com/office/officeart/2005/8/layout/radial1"/>
    <dgm:cxn modelId="{32194611-4D0E-4ADF-895B-E02379BE90B7}" srcId="{1117FD69-0603-4D0E-82D7-06C62CA8DE3C}" destId="{140ED447-6A36-4829-8A5A-12B74914C451}" srcOrd="4" destOrd="0" parTransId="{2A55B3F3-A19F-4066-96B7-AF945DA7FF42}" sibTransId="{D6A5AFC2-2F03-4091-906D-A0813A260289}"/>
    <dgm:cxn modelId="{E9424444-AC1E-4E16-9D5B-2D98FF5206B0}" srcId="{1117FD69-0603-4D0E-82D7-06C62CA8DE3C}" destId="{FA185F1B-D81D-41FF-9392-15A54D16B8CE}" srcOrd="5" destOrd="0" parTransId="{703D86A1-04C3-46BA-8AD3-D7E36F611199}" sibTransId="{48D6AC13-903C-4D14-AEB5-B3ECC8C28D0B}"/>
    <dgm:cxn modelId="{E2C6FA34-A2AB-45BE-9039-28098A0C181F}" type="presOf" srcId="{503FFA08-8AC4-4872-83CB-8D62E2F3C38B}" destId="{A477E18B-C8C6-49EA-A5A9-084A64DDD9A7}" srcOrd="0" destOrd="0" presId="urn:microsoft.com/office/officeart/2005/8/layout/radial1"/>
    <dgm:cxn modelId="{66FE098B-E507-4831-BDDB-703A61BCE70A}" srcId="{1117FD69-0603-4D0E-82D7-06C62CA8DE3C}" destId="{1546F7B5-E5C0-46BE-9E77-A667085477EE}" srcOrd="6" destOrd="0" parTransId="{8194BFFE-8B7E-4F18-B5CC-C3D65011C7D8}" sibTransId="{98CFEBB5-F584-4CC9-9F54-6FB21F45F28F}"/>
    <dgm:cxn modelId="{757BFAF5-889D-43C4-BE77-ADA79FFFF8D4}" type="presOf" srcId="{711F5348-987A-4CC1-82B1-D8F00EFCA03E}" destId="{C9E7B677-7EDC-41B2-ACFB-23D189B0BF41}" srcOrd="1" destOrd="0" presId="urn:microsoft.com/office/officeart/2005/8/layout/radial1"/>
    <dgm:cxn modelId="{A470FA37-7D6C-497A-83EF-C26D175E1AC3}" srcId="{1117FD69-0603-4D0E-82D7-06C62CA8DE3C}" destId="{7075F094-2F0F-4657-AD27-24ACFB41BC7B}" srcOrd="1" destOrd="0" parTransId="{503FFA08-8AC4-4872-83CB-8D62E2F3C38B}" sibTransId="{69F27D66-DC20-4C85-98FA-43827B195832}"/>
    <dgm:cxn modelId="{E905E54F-CB19-4508-8AF0-DB7A7333ACFC}" type="presOf" srcId="{1546F7B5-E5C0-46BE-9E77-A667085477EE}" destId="{BB655561-AE12-47F4-BAFB-AEBFDB311B9C}" srcOrd="0" destOrd="0" presId="urn:microsoft.com/office/officeart/2005/8/layout/radial1"/>
    <dgm:cxn modelId="{05B48379-F83C-4CA0-A180-822B9DC3D5E1}" type="presOf" srcId="{1117FD69-0603-4D0E-82D7-06C62CA8DE3C}" destId="{85081D27-ECBE-4FEC-9FC3-DBFA5C3D5B02}" srcOrd="0" destOrd="0" presId="urn:microsoft.com/office/officeart/2005/8/layout/radial1"/>
    <dgm:cxn modelId="{C6D691A0-B79B-42D6-92C8-48469C125553}" type="presOf" srcId="{2A55B3F3-A19F-4066-96B7-AF945DA7FF42}" destId="{1665A012-043E-4290-A68E-F74E8D2D817C}" srcOrd="0" destOrd="0" presId="urn:microsoft.com/office/officeart/2005/8/layout/radial1"/>
    <dgm:cxn modelId="{E39A3EB6-B33E-4EC9-BED3-09CD77EFB835}" type="presOf" srcId="{8194BFFE-8B7E-4F18-B5CC-C3D65011C7D8}" destId="{24A0B348-6230-4A7C-A0B9-3562353B4903}" srcOrd="1" destOrd="0" presId="urn:microsoft.com/office/officeart/2005/8/layout/radial1"/>
    <dgm:cxn modelId="{248ED4FE-D772-41CD-B346-FFB0F924BBA7}" type="presOf" srcId="{A8358FB8-BF7F-481C-8077-90461C695BE3}" destId="{D172FCA5-8FB8-4648-9A72-3A825775E570}" srcOrd="1" destOrd="0" presId="urn:microsoft.com/office/officeart/2005/8/layout/radial1"/>
    <dgm:cxn modelId="{ADCB94F9-735D-436C-8804-EE745A1DACF6}" srcId="{082833E8-57A4-473A-BEE4-60B6EF5E382C}" destId="{1117FD69-0603-4D0E-82D7-06C62CA8DE3C}" srcOrd="0" destOrd="0" parTransId="{35C0ED8A-EC85-4DF4-9CDC-18C5324EEE05}" sibTransId="{3FBC200B-700F-443D-B996-E4564520D8B8}"/>
    <dgm:cxn modelId="{44510D34-490D-48A9-91A6-701519ECCA14}" type="presOf" srcId="{85AE4113-D707-4DF9-8A48-5620B8348398}" destId="{1E06C319-9D46-4225-B111-B576CF24AC8D}" srcOrd="0" destOrd="0" presId="urn:microsoft.com/office/officeart/2005/8/layout/radial1"/>
    <dgm:cxn modelId="{A9402577-9923-45CE-BCD8-F79C4A35D0B0}" type="presOf" srcId="{E6111ACA-7D17-48FC-9C33-B3F28F5D181F}" destId="{71C78D12-DE76-48B1-939D-CBC390C12618}" srcOrd="0" destOrd="0" presId="urn:microsoft.com/office/officeart/2005/8/layout/radial1"/>
    <dgm:cxn modelId="{7A549BBF-6115-429D-AA23-15128BC461E7}" type="presOf" srcId="{703D86A1-04C3-46BA-8AD3-D7E36F611199}" destId="{C8B32897-9880-4B29-AC37-B88B44841231}" srcOrd="0" destOrd="0" presId="urn:microsoft.com/office/officeart/2005/8/layout/radial1"/>
    <dgm:cxn modelId="{348AA5E1-1872-4B63-8012-51A2C1900EE5}" type="presOf" srcId="{A8358FB8-BF7F-481C-8077-90461C695BE3}" destId="{AB600EA1-C6F7-45F6-A61A-15FFBA2E56FB}" srcOrd="0" destOrd="0" presId="urn:microsoft.com/office/officeart/2005/8/layout/radial1"/>
    <dgm:cxn modelId="{289D2CA3-CE9C-4B88-9290-7D0A7D9A82BF}" type="presOf" srcId="{2A55B3F3-A19F-4066-96B7-AF945DA7FF42}" destId="{95B9F9A8-9D21-4D68-9956-CC64F0BE5179}" srcOrd="1" destOrd="0" presId="urn:microsoft.com/office/officeart/2005/8/layout/radial1"/>
    <dgm:cxn modelId="{4099B2BB-6D8A-4DA2-9679-90DA3060EB9F}" type="presOf" srcId="{905DCC02-3A56-4A88-8D87-7817AFC54E68}" destId="{246DA683-4E05-49E7-A326-AFEB5321E182}" srcOrd="0" destOrd="0" presId="urn:microsoft.com/office/officeart/2005/8/layout/radial1"/>
    <dgm:cxn modelId="{D78331EA-B946-40B8-B9B3-95206CAE9858}" type="presParOf" srcId="{D759F690-4E4F-4E59-8AF6-667D8B75757F}" destId="{85081D27-ECBE-4FEC-9FC3-DBFA5C3D5B02}" srcOrd="0" destOrd="0" presId="urn:microsoft.com/office/officeart/2005/8/layout/radial1"/>
    <dgm:cxn modelId="{AB7D6712-9239-44C0-BD11-44A92D554094}" type="presParOf" srcId="{D759F690-4E4F-4E59-8AF6-667D8B75757F}" destId="{246DA683-4E05-49E7-A326-AFEB5321E182}" srcOrd="1" destOrd="0" presId="urn:microsoft.com/office/officeart/2005/8/layout/radial1"/>
    <dgm:cxn modelId="{822098DB-C51E-4083-813C-FBCB757FA0D3}" type="presParOf" srcId="{246DA683-4E05-49E7-A326-AFEB5321E182}" destId="{C548793D-AEF5-40C7-8E06-7E2038059727}" srcOrd="0" destOrd="0" presId="urn:microsoft.com/office/officeart/2005/8/layout/radial1"/>
    <dgm:cxn modelId="{8E1B6D55-59FF-455A-B03B-78F112E003AB}" type="presParOf" srcId="{D759F690-4E4F-4E59-8AF6-667D8B75757F}" destId="{71C78D12-DE76-48B1-939D-CBC390C12618}" srcOrd="2" destOrd="0" presId="urn:microsoft.com/office/officeart/2005/8/layout/radial1"/>
    <dgm:cxn modelId="{72054FC0-6699-47A0-AC23-9D22E2704FC2}" type="presParOf" srcId="{D759F690-4E4F-4E59-8AF6-667D8B75757F}" destId="{A477E18B-C8C6-49EA-A5A9-084A64DDD9A7}" srcOrd="3" destOrd="0" presId="urn:microsoft.com/office/officeart/2005/8/layout/radial1"/>
    <dgm:cxn modelId="{53566B61-FE4F-41E8-B533-17002E2C6F81}" type="presParOf" srcId="{A477E18B-C8C6-49EA-A5A9-084A64DDD9A7}" destId="{3AFD9F3F-D2D6-421B-812C-06E6A27EA050}" srcOrd="0" destOrd="0" presId="urn:microsoft.com/office/officeart/2005/8/layout/radial1"/>
    <dgm:cxn modelId="{DE636302-363D-4BDD-93C9-389CEBD427CA}" type="presParOf" srcId="{D759F690-4E4F-4E59-8AF6-667D8B75757F}" destId="{A053593C-A915-4CFD-8E35-023FDB494DA8}" srcOrd="4" destOrd="0" presId="urn:microsoft.com/office/officeart/2005/8/layout/radial1"/>
    <dgm:cxn modelId="{F83AADEF-109A-4B58-9BD6-FF95778ABD7A}" type="presParOf" srcId="{D759F690-4E4F-4E59-8AF6-667D8B75757F}" destId="{AB600EA1-C6F7-45F6-A61A-15FFBA2E56FB}" srcOrd="5" destOrd="0" presId="urn:microsoft.com/office/officeart/2005/8/layout/radial1"/>
    <dgm:cxn modelId="{A8A30114-6FB3-4FE5-8B48-95BF0DB7FAAA}" type="presParOf" srcId="{AB600EA1-C6F7-45F6-A61A-15FFBA2E56FB}" destId="{D172FCA5-8FB8-4648-9A72-3A825775E570}" srcOrd="0" destOrd="0" presId="urn:microsoft.com/office/officeart/2005/8/layout/radial1"/>
    <dgm:cxn modelId="{2C80CE81-1687-4FAD-938A-2891919EB9E3}" type="presParOf" srcId="{D759F690-4E4F-4E59-8AF6-667D8B75757F}" destId="{AB151A99-502A-40BF-8C56-803AA5616BDE}" srcOrd="6" destOrd="0" presId="urn:microsoft.com/office/officeart/2005/8/layout/radial1"/>
    <dgm:cxn modelId="{B94B0933-B864-4957-91D7-A6529ACCEEEB}" type="presParOf" srcId="{D759F690-4E4F-4E59-8AF6-667D8B75757F}" destId="{F7631102-C36A-41B3-B5AE-9DABD9FBAA4F}" srcOrd="7" destOrd="0" presId="urn:microsoft.com/office/officeart/2005/8/layout/radial1"/>
    <dgm:cxn modelId="{7257754D-5D94-4659-9487-8D7FAADB6159}" type="presParOf" srcId="{F7631102-C36A-41B3-B5AE-9DABD9FBAA4F}" destId="{C9E7B677-7EDC-41B2-ACFB-23D189B0BF41}" srcOrd="0" destOrd="0" presId="urn:microsoft.com/office/officeart/2005/8/layout/radial1"/>
    <dgm:cxn modelId="{D0AEE2BC-0544-4251-8DCF-50004AC11FB7}" type="presParOf" srcId="{D759F690-4E4F-4E59-8AF6-667D8B75757F}" destId="{1E06C319-9D46-4225-B111-B576CF24AC8D}" srcOrd="8" destOrd="0" presId="urn:microsoft.com/office/officeart/2005/8/layout/radial1"/>
    <dgm:cxn modelId="{226AAA26-0345-4E18-A47B-E9A207A126D8}" type="presParOf" srcId="{D759F690-4E4F-4E59-8AF6-667D8B75757F}" destId="{1665A012-043E-4290-A68E-F74E8D2D817C}" srcOrd="9" destOrd="0" presId="urn:microsoft.com/office/officeart/2005/8/layout/radial1"/>
    <dgm:cxn modelId="{8EEC335C-8F0D-4E56-85DB-1D1CC7FC74E9}" type="presParOf" srcId="{1665A012-043E-4290-A68E-F74E8D2D817C}" destId="{95B9F9A8-9D21-4D68-9956-CC64F0BE5179}" srcOrd="0" destOrd="0" presId="urn:microsoft.com/office/officeart/2005/8/layout/radial1"/>
    <dgm:cxn modelId="{446AF8A4-5F4B-4225-B3B3-9D0DF7C79430}" type="presParOf" srcId="{D759F690-4E4F-4E59-8AF6-667D8B75757F}" destId="{9B067ADD-6D5E-4E75-8951-39201ED59104}" srcOrd="10" destOrd="0" presId="urn:microsoft.com/office/officeart/2005/8/layout/radial1"/>
    <dgm:cxn modelId="{A51E3EA6-FBD1-49E8-9ABB-F6B179A0B83B}" type="presParOf" srcId="{D759F690-4E4F-4E59-8AF6-667D8B75757F}" destId="{C8B32897-9880-4B29-AC37-B88B44841231}" srcOrd="11" destOrd="0" presId="urn:microsoft.com/office/officeart/2005/8/layout/radial1"/>
    <dgm:cxn modelId="{08BD78A9-12F0-4346-8626-A1985322A598}" type="presParOf" srcId="{C8B32897-9880-4B29-AC37-B88B44841231}" destId="{17E9282B-DDC6-4887-A9E7-27877DE035F5}" srcOrd="0" destOrd="0" presId="urn:microsoft.com/office/officeart/2005/8/layout/radial1"/>
    <dgm:cxn modelId="{301F670F-7608-46BB-8EBC-23CAD8D9D85C}" type="presParOf" srcId="{D759F690-4E4F-4E59-8AF6-667D8B75757F}" destId="{1F618EC3-E88C-429F-B961-48249D9C7035}" srcOrd="12" destOrd="0" presId="urn:microsoft.com/office/officeart/2005/8/layout/radial1"/>
    <dgm:cxn modelId="{E90D1D88-C564-4FB2-B39E-FEF8B159A6D3}" type="presParOf" srcId="{D759F690-4E4F-4E59-8AF6-667D8B75757F}" destId="{C016968D-D810-41D2-A334-1FC3428046F9}" srcOrd="13" destOrd="0" presId="urn:microsoft.com/office/officeart/2005/8/layout/radial1"/>
    <dgm:cxn modelId="{5415B84C-9EAB-4825-A3CD-A68349AA2316}" type="presParOf" srcId="{C016968D-D810-41D2-A334-1FC3428046F9}" destId="{24A0B348-6230-4A7C-A0B9-3562353B4903}" srcOrd="0" destOrd="0" presId="urn:microsoft.com/office/officeart/2005/8/layout/radial1"/>
    <dgm:cxn modelId="{65B10C62-A639-4CA4-B7DD-D739B07EB08C}" type="presParOf" srcId="{D759F690-4E4F-4E59-8AF6-667D8B75757F}" destId="{BB655561-AE12-47F4-BAFB-AEBFDB311B9C}" srcOrd="14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798BCD-6CE2-4C6C-81CF-8BAB0A2523DD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fr-FR"/>
        </a:p>
      </dgm:t>
    </dgm:pt>
    <dgm:pt modelId="{959BF2EC-4A57-40DE-9854-D34FD0F93361}">
      <dgm:prSet phldrT="[Texte]"/>
      <dgm:spPr/>
      <dgm:t>
        <a:bodyPr/>
        <a:lstStyle/>
        <a:p>
          <a:r>
            <a:rPr lang="fr-FR" dirty="0" smtClean="0"/>
            <a:t>Pole CMD &amp; FLUX</a:t>
          </a:r>
          <a:endParaRPr lang="fr-FR" dirty="0"/>
        </a:p>
      </dgm:t>
    </dgm:pt>
    <dgm:pt modelId="{C094EC4E-FFBD-4A94-BD38-91EF0EAFC242}" type="parTrans" cxnId="{5B2E6C86-510A-444D-B594-8F69AAC93976}">
      <dgm:prSet/>
      <dgm:spPr/>
      <dgm:t>
        <a:bodyPr/>
        <a:lstStyle/>
        <a:p>
          <a:endParaRPr lang="fr-FR"/>
        </a:p>
      </dgm:t>
    </dgm:pt>
    <dgm:pt modelId="{7F64F4E8-4873-4DE5-A9D4-59E62465659F}" type="sibTrans" cxnId="{5B2E6C86-510A-444D-B594-8F69AAC93976}">
      <dgm:prSet/>
      <dgm:spPr/>
      <dgm:t>
        <a:bodyPr/>
        <a:lstStyle/>
        <a:p>
          <a:endParaRPr lang="fr-FR"/>
        </a:p>
      </dgm:t>
    </dgm:pt>
    <dgm:pt modelId="{CDA6919A-2E78-4AF9-BC90-779B78D99ED3}">
      <dgm:prSet/>
      <dgm:spPr/>
      <dgm:t>
        <a:bodyPr/>
        <a:lstStyle/>
        <a:p>
          <a:r>
            <a:rPr lang="fr-FR" smtClean="0"/>
            <a:t>Pole CONVOI</a:t>
          </a:r>
          <a:endParaRPr lang="fr-FR" dirty="0"/>
        </a:p>
      </dgm:t>
    </dgm:pt>
    <dgm:pt modelId="{2655EDC8-FBA3-4E85-A2A6-E99E6C50F1CE}" type="parTrans" cxnId="{3FD3978D-5FE6-417F-8FCC-4F11E3FF63DD}">
      <dgm:prSet/>
      <dgm:spPr/>
      <dgm:t>
        <a:bodyPr/>
        <a:lstStyle/>
        <a:p>
          <a:endParaRPr lang="fr-FR"/>
        </a:p>
      </dgm:t>
    </dgm:pt>
    <dgm:pt modelId="{761B460B-DFE2-4643-B4E2-44B11D60E89F}" type="sibTrans" cxnId="{3FD3978D-5FE6-417F-8FCC-4F11E3FF63DD}">
      <dgm:prSet/>
      <dgm:spPr/>
      <dgm:t>
        <a:bodyPr/>
        <a:lstStyle/>
        <a:p>
          <a:endParaRPr lang="fr-FR"/>
        </a:p>
      </dgm:t>
    </dgm:pt>
    <dgm:pt modelId="{5D58201B-AF2B-4799-A2DB-1FA4637E5857}">
      <dgm:prSet/>
      <dgm:spPr>
        <a:ln>
          <a:noFill/>
        </a:ln>
      </dgm:spPr>
      <dgm:t>
        <a:bodyPr/>
        <a:lstStyle/>
        <a:p>
          <a:r>
            <a:rPr lang="fr-FR" dirty="0" smtClean="0"/>
            <a:t>Pole Gestion</a:t>
          </a:r>
          <a:endParaRPr lang="fr-FR" dirty="0"/>
        </a:p>
      </dgm:t>
    </dgm:pt>
    <dgm:pt modelId="{0DDC522B-2BF5-4DC9-97F6-2BCAC6025738}" type="parTrans" cxnId="{FD3276F6-C475-45DC-A1C0-612E764FA5FA}">
      <dgm:prSet/>
      <dgm:spPr/>
      <dgm:t>
        <a:bodyPr/>
        <a:lstStyle/>
        <a:p>
          <a:endParaRPr lang="fr-FR"/>
        </a:p>
      </dgm:t>
    </dgm:pt>
    <dgm:pt modelId="{15878726-DE2F-459B-8D8F-754AE6B1158A}" type="sibTrans" cxnId="{FD3276F6-C475-45DC-A1C0-612E764FA5FA}">
      <dgm:prSet/>
      <dgm:spPr/>
      <dgm:t>
        <a:bodyPr/>
        <a:lstStyle/>
        <a:p>
          <a:endParaRPr lang="fr-FR"/>
        </a:p>
      </dgm:t>
    </dgm:pt>
    <dgm:pt modelId="{2A016E81-2700-4F1A-B2A8-AFD3CDEF65DF}">
      <dgm:prSet/>
      <dgm:spPr/>
      <dgm:t>
        <a:bodyPr/>
        <a:lstStyle/>
        <a:p>
          <a:r>
            <a:rPr lang="fr-FR" smtClean="0"/>
            <a:t>Pole EFR &amp; REF</a:t>
          </a:r>
          <a:endParaRPr lang="fr-FR" dirty="0"/>
        </a:p>
      </dgm:t>
    </dgm:pt>
    <dgm:pt modelId="{82283DFD-115A-4DEC-820B-CB56B558AF1D}" type="parTrans" cxnId="{EBF6BEF4-1983-4FA5-A25A-37E39C3E9E65}">
      <dgm:prSet/>
      <dgm:spPr/>
      <dgm:t>
        <a:bodyPr/>
        <a:lstStyle/>
        <a:p>
          <a:endParaRPr lang="fr-FR"/>
        </a:p>
      </dgm:t>
    </dgm:pt>
    <dgm:pt modelId="{3E3F18AF-E6A9-4C8D-BF38-34199E771620}" type="sibTrans" cxnId="{EBF6BEF4-1983-4FA5-A25A-37E39C3E9E65}">
      <dgm:prSet/>
      <dgm:spPr/>
      <dgm:t>
        <a:bodyPr/>
        <a:lstStyle/>
        <a:p>
          <a:endParaRPr lang="fr-FR"/>
        </a:p>
      </dgm:t>
    </dgm:pt>
    <dgm:pt modelId="{87830E97-033F-47A2-B4E5-650A1EC0CA59}">
      <dgm:prSet/>
      <dgm:spPr/>
      <dgm:t>
        <a:bodyPr/>
        <a:lstStyle/>
        <a:p>
          <a:r>
            <a:rPr lang="fr-FR" dirty="0" smtClean="0"/>
            <a:t>Pole SAP</a:t>
          </a:r>
        </a:p>
      </dgm:t>
    </dgm:pt>
    <dgm:pt modelId="{B8E21624-9A9C-4011-AB06-B7753138D2D9}" type="parTrans" cxnId="{4184C4BD-F7C1-4379-B982-1A5B8EBBF6F6}">
      <dgm:prSet/>
      <dgm:spPr/>
      <dgm:t>
        <a:bodyPr/>
        <a:lstStyle/>
        <a:p>
          <a:endParaRPr lang="fr-FR"/>
        </a:p>
      </dgm:t>
    </dgm:pt>
    <dgm:pt modelId="{32CAED12-2C65-4CAA-886B-2A4FE70D2A2C}" type="sibTrans" cxnId="{4184C4BD-F7C1-4379-B982-1A5B8EBBF6F6}">
      <dgm:prSet/>
      <dgm:spPr/>
      <dgm:t>
        <a:bodyPr/>
        <a:lstStyle/>
        <a:p>
          <a:endParaRPr lang="fr-FR"/>
        </a:p>
      </dgm:t>
    </dgm:pt>
    <dgm:pt modelId="{14C1D0F4-7632-4C5B-80F3-1E24D29E9F5E}" type="pres">
      <dgm:prSet presAssocID="{6D798BCD-6CE2-4C6C-81CF-8BAB0A2523D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7193D30-A86F-428E-B186-7F774C675315}" type="pres">
      <dgm:prSet presAssocID="{959BF2EC-4A57-40DE-9854-D34FD0F93361}" presName="parentText" presStyleLbl="node1" presStyleIdx="0" presStyleCnt="5" custLinFactNeighborX="-80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835DBBA-F47D-4467-92CD-00AEE904557B}" type="pres">
      <dgm:prSet presAssocID="{7F64F4E8-4873-4DE5-A9D4-59E62465659F}" presName="spacer" presStyleCnt="0"/>
      <dgm:spPr/>
    </dgm:pt>
    <dgm:pt modelId="{F5E5EB87-4422-4237-9992-615594BF7119}" type="pres">
      <dgm:prSet presAssocID="{CDA6919A-2E78-4AF9-BC90-779B78D99ED3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72F764-496E-49F3-8C54-03A2BB781E1D}" type="pres">
      <dgm:prSet presAssocID="{761B460B-DFE2-4643-B4E2-44B11D60E89F}" presName="spacer" presStyleCnt="0"/>
      <dgm:spPr/>
    </dgm:pt>
    <dgm:pt modelId="{4B45D00D-EAB9-46E9-929F-9E40E3C3FFBF}" type="pres">
      <dgm:prSet presAssocID="{5D58201B-AF2B-4799-A2DB-1FA4637E5857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63498F0-1A3F-4CD8-9B09-5C9E14C711D4}" type="pres">
      <dgm:prSet presAssocID="{15878726-DE2F-459B-8D8F-754AE6B1158A}" presName="spacer" presStyleCnt="0"/>
      <dgm:spPr/>
    </dgm:pt>
    <dgm:pt modelId="{7C534400-38DA-44F5-8E9F-430113B86B87}" type="pres">
      <dgm:prSet presAssocID="{2A016E81-2700-4F1A-B2A8-AFD3CDEF65DF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63912F5-83FF-42C5-8E05-A923582DCF26}" type="pres">
      <dgm:prSet presAssocID="{3E3F18AF-E6A9-4C8D-BF38-34199E771620}" presName="spacer" presStyleCnt="0"/>
      <dgm:spPr/>
    </dgm:pt>
    <dgm:pt modelId="{1C941002-7699-44F9-8242-35B9232106CD}" type="pres">
      <dgm:prSet presAssocID="{87830E97-033F-47A2-B4E5-650A1EC0CA59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397E9E61-C804-4C3B-9720-CD6D997D6722}" type="presOf" srcId="{CDA6919A-2E78-4AF9-BC90-779B78D99ED3}" destId="{F5E5EB87-4422-4237-9992-615594BF7119}" srcOrd="0" destOrd="0" presId="urn:microsoft.com/office/officeart/2005/8/layout/vList2"/>
    <dgm:cxn modelId="{C47199E4-C69A-4BB2-9E3D-64B6C385D35A}" type="presOf" srcId="{6D798BCD-6CE2-4C6C-81CF-8BAB0A2523DD}" destId="{14C1D0F4-7632-4C5B-80F3-1E24D29E9F5E}" srcOrd="0" destOrd="0" presId="urn:microsoft.com/office/officeart/2005/8/layout/vList2"/>
    <dgm:cxn modelId="{3FD3978D-5FE6-417F-8FCC-4F11E3FF63DD}" srcId="{6D798BCD-6CE2-4C6C-81CF-8BAB0A2523DD}" destId="{CDA6919A-2E78-4AF9-BC90-779B78D99ED3}" srcOrd="1" destOrd="0" parTransId="{2655EDC8-FBA3-4E85-A2A6-E99E6C50F1CE}" sibTransId="{761B460B-DFE2-4643-B4E2-44B11D60E89F}"/>
    <dgm:cxn modelId="{3972BFDC-3CB5-4639-9296-631E7D48F12B}" type="presOf" srcId="{959BF2EC-4A57-40DE-9854-D34FD0F93361}" destId="{77193D30-A86F-428E-B186-7F774C675315}" srcOrd="0" destOrd="0" presId="urn:microsoft.com/office/officeart/2005/8/layout/vList2"/>
    <dgm:cxn modelId="{2BB087EC-7227-4FA2-8FDD-E27C9A789088}" type="presOf" srcId="{87830E97-033F-47A2-B4E5-650A1EC0CA59}" destId="{1C941002-7699-44F9-8242-35B9232106CD}" srcOrd="0" destOrd="0" presId="urn:microsoft.com/office/officeart/2005/8/layout/vList2"/>
    <dgm:cxn modelId="{4184C4BD-F7C1-4379-B982-1A5B8EBBF6F6}" srcId="{6D798BCD-6CE2-4C6C-81CF-8BAB0A2523DD}" destId="{87830E97-033F-47A2-B4E5-650A1EC0CA59}" srcOrd="4" destOrd="0" parTransId="{B8E21624-9A9C-4011-AB06-B7753138D2D9}" sibTransId="{32CAED12-2C65-4CAA-886B-2A4FE70D2A2C}"/>
    <dgm:cxn modelId="{5B2E6C86-510A-444D-B594-8F69AAC93976}" srcId="{6D798BCD-6CE2-4C6C-81CF-8BAB0A2523DD}" destId="{959BF2EC-4A57-40DE-9854-D34FD0F93361}" srcOrd="0" destOrd="0" parTransId="{C094EC4E-FFBD-4A94-BD38-91EF0EAFC242}" sibTransId="{7F64F4E8-4873-4DE5-A9D4-59E62465659F}"/>
    <dgm:cxn modelId="{FD3276F6-C475-45DC-A1C0-612E764FA5FA}" srcId="{6D798BCD-6CE2-4C6C-81CF-8BAB0A2523DD}" destId="{5D58201B-AF2B-4799-A2DB-1FA4637E5857}" srcOrd="2" destOrd="0" parTransId="{0DDC522B-2BF5-4DC9-97F6-2BCAC6025738}" sibTransId="{15878726-DE2F-459B-8D8F-754AE6B1158A}"/>
    <dgm:cxn modelId="{EBF6BEF4-1983-4FA5-A25A-37E39C3E9E65}" srcId="{6D798BCD-6CE2-4C6C-81CF-8BAB0A2523DD}" destId="{2A016E81-2700-4F1A-B2A8-AFD3CDEF65DF}" srcOrd="3" destOrd="0" parTransId="{82283DFD-115A-4DEC-820B-CB56B558AF1D}" sibTransId="{3E3F18AF-E6A9-4C8D-BF38-34199E771620}"/>
    <dgm:cxn modelId="{EF080C07-EBED-4F36-8EBE-8D0E21A80090}" type="presOf" srcId="{5D58201B-AF2B-4799-A2DB-1FA4637E5857}" destId="{4B45D00D-EAB9-46E9-929F-9E40E3C3FFBF}" srcOrd="0" destOrd="0" presId="urn:microsoft.com/office/officeart/2005/8/layout/vList2"/>
    <dgm:cxn modelId="{E6B064AA-8790-4B34-89EE-F41D371F0AF4}" type="presOf" srcId="{2A016E81-2700-4F1A-B2A8-AFD3CDEF65DF}" destId="{7C534400-38DA-44F5-8E9F-430113B86B87}" srcOrd="0" destOrd="0" presId="urn:microsoft.com/office/officeart/2005/8/layout/vList2"/>
    <dgm:cxn modelId="{FE9695EA-9F76-47F8-A514-C07880DFD771}" type="presParOf" srcId="{14C1D0F4-7632-4C5B-80F3-1E24D29E9F5E}" destId="{77193D30-A86F-428E-B186-7F774C675315}" srcOrd="0" destOrd="0" presId="urn:microsoft.com/office/officeart/2005/8/layout/vList2"/>
    <dgm:cxn modelId="{EE248073-D626-4876-BFC7-D6C8A7447C09}" type="presParOf" srcId="{14C1D0F4-7632-4C5B-80F3-1E24D29E9F5E}" destId="{4835DBBA-F47D-4467-92CD-00AEE904557B}" srcOrd="1" destOrd="0" presId="urn:microsoft.com/office/officeart/2005/8/layout/vList2"/>
    <dgm:cxn modelId="{80F66202-1C36-414D-95A1-9DE584F70BD9}" type="presParOf" srcId="{14C1D0F4-7632-4C5B-80F3-1E24D29E9F5E}" destId="{F5E5EB87-4422-4237-9992-615594BF7119}" srcOrd="2" destOrd="0" presId="urn:microsoft.com/office/officeart/2005/8/layout/vList2"/>
    <dgm:cxn modelId="{A22E9229-122D-4833-8E70-20FE05F821AE}" type="presParOf" srcId="{14C1D0F4-7632-4C5B-80F3-1E24D29E9F5E}" destId="{5072F764-496E-49F3-8C54-03A2BB781E1D}" srcOrd="3" destOrd="0" presId="urn:microsoft.com/office/officeart/2005/8/layout/vList2"/>
    <dgm:cxn modelId="{8BA8F0B8-4BFA-4130-9AA9-0F3B9FB41CAC}" type="presParOf" srcId="{14C1D0F4-7632-4C5B-80F3-1E24D29E9F5E}" destId="{4B45D00D-EAB9-46E9-929F-9E40E3C3FFBF}" srcOrd="4" destOrd="0" presId="urn:microsoft.com/office/officeart/2005/8/layout/vList2"/>
    <dgm:cxn modelId="{036ED40A-81D9-4039-B7D0-770A67A4EDF0}" type="presParOf" srcId="{14C1D0F4-7632-4C5B-80F3-1E24D29E9F5E}" destId="{763498F0-1A3F-4CD8-9B09-5C9E14C711D4}" srcOrd="5" destOrd="0" presId="urn:microsoft.com/office/officeart/2005/8/layout/vList2"/>
    <dgm:cxn modelId="{AC4D8069-60FA-4DBE-B3AB-D48AE7EB21BC}" type="presParOf" srcId="{14C1D0F4-7632-4C5B-80F3-1E24D29E9F5E}" destId="{7C534400-38DA-44F5-8E9F-430113B86B87}" srcOrd="6" destOrd="0" presId="urn:microsoft.com/office/officeart/2005/8/layout/vList2"/>
    <dgm:cxn modelId="{C4A90BAD-0E51-405B-8BE7-71C76100727F}" type="presParOf" srcId="{14C1D0F4-7632-4C5B-80F3-1E24D29E9F5E}" destId="{E63912F5-83FF-42C5-8E05-A923582DCF26}" srcOrd="7" destOrd="0" presId="urn:microsoft.com/office/officeart/2005/8/layout/vList2"/>
    <dgm:cxn modelId="{3475DA24-9E6B-4EC9-AE7C-84B3927B7C8D}" type="presParOf" srcId="{14C1D0F4-7632-4C5B-80F3-1E24D29E9F5E}" destId="{1C941002-7699-44F9-8242-35B9232106CD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D798BCD-6CE2-4C6C-81CF-8BAB0A2523DD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fr-FR"/>
        </a:p>
      </dgm:t>
    </dgm:pt>
    <dgm:pt modelId="{959BF2EC-4A57-40DE-9854-D34FD0F93361}">
      <dgm:prSet phldrT="[Texte]"/>
      <dgm:spPr/>
      <dgm:t>
        <a:bodyPr/>
        <a:lstStyle/>
        <a:p>
          <a:r>
            <a:rPr lang="fr-FR" dirty="0" smtClean="0"/>
            <a:t>On </a:t>
          </a:r>
          <a:r>
            <a:rPr lang="fr-FR" dirty="0" err="1" smtClean="0"/>
            <a:t>boarding</a:t>
          </a:r>
          <a:r>
            <a:rPr lang="fr-FR" dirty="0" smtClean="0"/>
            <a:t> Global</a:t>
          </a:r>
          <a:endParaRPr lang="fr-FR" dirty="0"/>
        </a:p>
      </dgm:t>
    </dgm:pt>
    <dgm:pt modelId="{C094EC4E-FFBD-4A94-BD38-91EF0EAFC242}" type="parTrans" cxnId="{5B2E6C86-510A-444D-B594-8F69AAC93976}">
      <dgm:prSet/>
      <dgm:spPr/>
      <dgm:t>
        <a:bodyPr/>
        <a:lstStyle/>
        <a:p>
          <a:endParaRPr lang="fr-FR"/>
        </a:p>
      </dgm:t>
    </dgm:pt>
    <dgm:pt modelId="{7F64F4E8-4873-4DE5-A9D4-59E62465659F}" type="sibTrans" cxnId="{5B2E6C86-510A-444D-B594-8F69AAC93976}">
      <dgm:prSet/>
      <dgm:spPr/>
      <dgm:t>
        <a:bodyPr/>
        <a:lstStyle/>
        <a:p>
          <a:endParaRPr lang="fr-FR"/>
        </a:p>
      </dgm:t>
    </dgm:pt>
    <dgm:pt modelId="{6AEAB393-2F94-42A5-9BBF-22AD1E840D91}">
      <dgm:prSet phldrT="[Texte]"/>
      <dgm:spPr/>
      <dgm:t>
        <a:bodyPr/>
        <a:lstStyle/>
        <a:p>
          <a:r>
            <a:rPr lang="fr-FR" dirty="0" smtClean="0"/>
            <a:t>On </a:t>
          </a:r>
          <a:r>
            <a:rPr lang="fr-FR" dirty="0" err="1" smtClean="0"/>
            <a:t>boarding</a:t>
          </a:r>
          <a:r>
            <a:rPr lang="fr-FR" dirty="0" smtClean="0"/>
            <a:t> Mission</a:t>
          </a:r>
          <a:endParaRPr lang="fr-FR" dirty="0"/>
        </a:p>
      </dgm:t>
    </dgm:pt>
    <dgm:pt modelId="{61954E5E-BA97-46BA-A96F-381A2330CFC9}" type="parTrans" cxnId="{9C2B31E8-04A7-4C77-BDBB-C17694041938}">
      <dgm:prSet/>
      <dgm:spPr/>
      <dgm:t>
        <a:bodyPr/>
        <a:lstStyle/>
        <a:p>
          <a:endParaRPr lang="fr-FR"/>
        </a:p>
      </dgm:t>
    </dgm:pt>
    <dgm:pt modelId="{2ACF16FA-1982-4EDC-9DDB-EAB782574890}" type="sibTrans" cxnId="{9C2B31E8-04A7-4C77-BDBB-C17694041938}">
      <dgm:prSet/>
      <dgm:spPr/>
      <dgm:t>
        <a:bodyPr/>
        <a:lstStyle/>
        <a:p>
          <a:endParaRPr lang="fr-FR"/>
        </a:p>
      </dgm:t>
    </dgm:pt>
    <dgm:pt modelId="{07AC578B-49A4-460F-AB86-640661FC922C}">
      <dgm:prSet phldrT="[Texte]"/>
      <dgm:spPr/>
      <dgm:t>
        <a:bodyPr/>
        <a:lstStyle/>
        <a:p>
          <a:r>
            <a:rPr lang="fr-FR" dirty="0" smtClean="0"/>
            <a:t>Analyse</a:t>
          </a:r>
          <a:endParaRPr lang="fr-FR" dirty="0"/>
        </a:p>
      </dgm:t>
    </dgm:pt>
    <dgm:pt modelId="{1C25C035-27A2-498F-9F1A-9EEA4CBE7EFC}" type="parTrans" cxnId="{E79F8BD0-86B3-4CDE-AC9D-31268E177D4C}">
      <dgm:prSet/>
      <dgm:spPr/>
      <dgm:t>
        <a:bodyPr/>
        <a:lstStyle/>
        <a:p>
          <a:endParaRPr lang="fr-FR"/>
        </a:p>
      </dgm:t>
    </dgm:pt>
    <dgm:pt modelId="{28B50447-ADC2-42D4-BCCB-9F8CE45E3D96}" type="sibTrans" cxnId="{E79F8BD0-86B3-4CDE-AC9D-31268E177D4C}">
      <dgm:prSet/>
      <dgm:spPr/>
      <dgm:t>
        <a:bodyPr/>
        <a:lstStyle/>
        <a:p>
          <a:endParaRPr lang="fr-FR"/>
        </a:p>
      </dgm:t>
    </dgm:pt>
    <dgm:pt modelId="{53F9B215-BA29-49A3-A2B4-F82614DF659F}">
      <dgm:prSet phldrT="[Texte]"/>
      <dgm:spPr/>
      <dgm:t>
        <a:bodyPr/>
        <a:lstStyle/>
        <a:p>
          <a:r>
            <a:rPr lang="fr-FR" dirty="0" smtClean="0"/>
            <a:t>Optimisation</a:t>
          </a:r>
          <a:endParaRPr lang="fr-FR" dirty="0"/>
        </a:p>
      </dgm:t>
    </dgm:pt>
    <dgm:pt modelId="{8ED66B8C-1204-44FA-9B2A-6E064DE36680}" type="parTrans" cxnId="{EF987E32-2602-4933-808E-D4E787A463CD}">
      <dgm:prSet/>
      <dgm:spPr/>
      <dgm:t>
        <a:bodyPr/>
        <a:lstStyle/>
        <a:p>
          <a:endParaRPr lang="fr-FR"/>
        </a:p>
      </dgm:t>
    </dgm:pt>
    <dgm:pt modelId="{85C88A59-AC30-4558-9829-6D02FBC6DFC5}" type="sibTrans" cxnId="{EF987E32-2602-4933-808E-D4E787A463CD}">
      <dgm:prSet/>
      <dgm:spPr/>
      <dgm:t>
        <a:bodyPr/>
        <a:lstStyle/>
        <a:p>
          <a:endParaRPr lang="fr-FR"/>
        </a:p>
      </dgm:t>
    </dgm:pt>
    <dgm:pt modelId="{D8FAABCF-D18A-47D7-BB91-E445A9E941E1}">
      <dgm:prSet phldrT="[Texte]"/>
      <dgm:spPr/>
      <dgm:t>
        <a:bodyPr/>
        <a:lstStyle/>
        <a:p>
          <a:r>
            <a:rPr lang="fr-FR" dirty="0" smtClean="0"/>
            <a:t>Exécution</a:t>
          </a:r>
          <a:endParaRPr lang="fr-FR" dirty="0"/>
        </a:p>
      </dgm:t>
    </dgm:pt>
    <dgm:pt modelId="{05D57729-3696-4741-B64A-7E0B2ED9CD1D}" type="parTrans" cxnId="{084242F9-DD41-4146-9055-1DB848CF2BF7}">
      <dgm:prSet/>
      <dgm:spPr/>
      <dgm:t>
        <a:bodyPr/>
        <a:lstStyle/>
        <a:p>
          <a:endParaRPr lang="fr-FR"/>
        </a:p>
      </dgm:t>
    </dgm:pt>
    <dgm:pt modelId="{7291661D-1E3B-48F3-AE78-009C34FFA315}" type="sibTrans" cxnId="{084242F9-DD41-4146-9055-1DB848CF2BF7}">
      <dgm:prSet/>
      <dgm:spPr/>
      <dgm:t>
        <a:bodyPr/>
        <a:lstStyle/>
        <a:p>
          <a:endParaRPr lang="fr-FR"/>
        </a:p>
      </dgm:t>
    </dgm:pt>
    <dgm:pt modelId="{14C1D0F4-7632-4C5B-80F3-1E24D29E9F5E}" type="pres">
      <dgm:prSet presAssocID="{6D798BCD-6CE2-4C6C-81CF-8BAB0A2523D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7193D30-A86F-428E-B186-7F774C675315}" type="pres">
      <dgm:prSet presAssocID="{959BF2EC-4A57-40DE-9854-D34FD0F93361}" presName="parentText" presStyleLbl="node1" presStyleIdx="0" presStyleCnt="5" custLinFactNeighborX="-80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835DBBA-F47D-4467-92CD-00AEE904557B}" type="pres">
      <dgm:prSet presAssocID="{7F64F4E8-4873-4DE5-A9D4-59E62465659F}" presName="spacer" presStyleCnt="0"/>
      <dgm:spPr/>
    </dgm:pt>
    <dgm:pt modelId="{1EBB08F3-201C-4862-960D-19A07B2FB714}" type="pres">
      <dgm:prSet presAssocID="{6AEAB393-2F94-42A5-9BBF-22AD1E840D91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839B151-3322-4265-B889-7517A83C829C}" type="pres">
      <dgm:prSet presAssocID="{2ACF16FA-1982-4EDC-9DDB-EAB782574890}" presName="spacer" presStyleCnt="0"/>
      <dgm:spPr/>
    </dgm:pt>
    <dgm:pt modelId="{7D22A68D-A3A3-4A1F-B053-A6808EDEFEA3}" type="pres">
      <dgm:prSet presAssocID="{07AC578B-49A4-460F-AB86-640661FC922C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C79D66D-536A-4BDA-8D74-C590A5B2723C}" type="pres">
      <dgm:prSet presAssocID="{28B50447-ADC2-42D4-BCCB-9F8CE45E3D96}" presName="spacer" presStyleCnt="0"/>
      <dgm:spPr/>
    </dgm:pt>
    <dgm:pt modelId="{CD28C434-F152-45BD-B3C8-0F1F2221AFFD}" type="pres">
      <dgm:prSet presAssocID="{53F9B215-BA29-49A3-A2B4-F82614DF659F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0B34F08-E669-4520-9CAE-11B195436899}" type="pres">
      <dgm:prSet presAssocID="{85C88A59-AC30-4558-9829-6D02FBC6DFC5}" presName="spacer" presStyleCnt="0"/>
      <dgm:spPr/>
    </dgm:pt>
    <dgm:pt modelId="{20945FA4-A1AF-4C1C-AE23-768B20420BEB}" type="pres">
      <dgm:prSet presAssocID="{D8FAABCF-D18A-47D7-BB91-E445A9E941E1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C2B31E8-04A7-4C77-BDBB-C17694041938}" srcId="{6D798BCD-6CE2-4C6C-81CF-8BAB0A2523DD}" destId="{6AEAB393-2F94-42A5-9BBF-22AD1E840D91}" srcOrd="1" destOrd="0" parTransId="{61954E5E-BA97-46BA-A96F-381A2330CFC9}" sibTransId="{2ACF16FA-1982-4EDC-9DDB-EAB782574890}"/>
    <dgm:cxn modelId="{E79F8BD0-86B3-4CDE-AC9D-31268E177D4C}" srcId="{6D798BCD-6CE2-4C6C-81CF-8BAB0A2523DD}" destId="{07AC578B-49A4-460F-AB86-640661FC922C}" srcOrd="2" destOrd="0" parTransId="{1C25C035-27A2-498F-9F1A-9EEA4CBE7EFC}" sibTransId="{28B50447-ADC2-42D4-BCCB-9F8CE45E3D96}"/>
    <dgm:cxn modelId="{E88F5C14-9F4C-4208-BD5C-E888DDCD1FD7}" type="presOf" srcId="{07AC578B-49A4-460F-AB86-640661FC922C}" destId="{7D22A68D-A3A3-4A1F-B053-A6808EDEFEA3}" srcOrd="0" destOrd="0" presId="urn:microsoft.com/office/officeart/2005/8/layout/vList2"/>
    <dgm:cxn modelId="{CDFE6C26-C2AE-41F2-9F9B-3A757B47032F}" type="presOf" srcId="{53F9B215-BA29-49A3-A2B4-F82614DF659F}" destId="{CD28C434-F152-45BD-B3C8-0F1F2221AFFD}" srcOrd="0" destOrd="0" presId="urn:microsoft.com/office/officeart/2005/8/layout/vList2"/>
    <dgm:cxn modelId="{084242F9-DD41-4146-9055-1DB848CF2BF7}" srcId="{6D798BCD-6CE2-4C6C-81CF-8BAB0A2523DD}" destId="{D8FAABCF-D18A-47D7-BB91-E445A9E941E1}" srcOrd="4" destOrd="0" parTransId="{05D57729-3696-4741-B64A-7E0B2ED9CD1D}" sibTransId="{7291661D-1E3B-48F3-AE78-009C34FFA315}"/>
    <dgm:cxn modelId="{5B2E6C86-510A-444D-B594-8F69AAC93976}" srcId="{6D798BCD-6CE2-4C6C-81CF-8BAB0A2523DD}" destId="{959BF2EC-4A57-40DE-9854-D34FD0F93361}" srcOrd="0" destOrd="0" parTransId="{C094EC4E-FFBD-4A94-BD38-91EF0EAFC242}" sibTransId="{7F64F4E8-4873-4DE5-A9D4-59E62465659F}"/>
    <dgm:cxn modelId="{FDCEA90F-D815-4A59-A4A8-FED27F9AB23A}" type="presOf" srcId="{D8FAABCF-D18A-47D7-BB91-E445A9E941E1}" destId="{20945FA4-A1AF-4C1C-AE23-768B20420BEB}" srcOrd="0" destOrd="0" presId="urn:microsoft.com/office/officeart/2005/8/layout/vList2"/>
    <dgm:cxn modelId="{3658F0A0-2D78-459C-B9BF-B88787B7B627}" type="presOf" srcId="{6D798BCD-6CE2-4C6C-81CF-8BAB0A2523DD}" destId="{14C1D0F4-7632-4C5B-80F3-1E24D29E9F5E}" srcOrd="0" destOrd="0" presId="urn:microsoft.com/office/officeart/2005/8/layout/vList2"/>
    <dgm:cxn modelId="{F17DE344-F66F-4C69-8940-333CE418FF40}" type="presOf" srcId="{6AEAB393-2F94-42A5-9BBF-22AD1E840D91}" destId="{1EBB08F3-201C-4862-960D-19A07B2FB714}" srcOrd="0" destOrd="0" presId="urn:microsoft.com/office/officeart/2005/8/layout/vList2"/>
    <dgm:cxn modelId="{1851DCAB-598D-4437-AFD4-50EB907FC37A}" type="presOf" srcId="{959BF2EC-4A57-40DE-9854-D34FD0F93361}" destId="{77193D30-A86F-428E-B186-7F774C675315}" srcOrd="0" destOrd="0" presId="urn:microsoft.com/office/officeart/2005/8/layout/vList2"/>
    <dgm:cxn modelId="{EF987E32-2602-4933-808E-D4E787A463CD}" srcId="{6D798BCD-6CE2-4C6C-81CF-8BAB0A2523DD}" destId="{53F9B215-BA29-49A3-A2B4-F82614DF659F}" srcOrd="3" destOrd="0" parTransId="{8ED66B8C-1204-44FA-9B2A-6E064DE36680}" sibTransId="{85C88A59-AC30-4558-9829-6D02FBC6DFC5}"/>
    <dgm:cxn modelId="{F488B0FF-6421-4DA6-8162-A4C2B827C294}" type="presParOf" srcId="{14C1D0F4-7632-4C5B-80F3-1E24D29E9F5E}" destId="{77193D30-A86F-428E-B186-7F774C675315}" srcOrd="0" destOrd="0" presId="urn:microsoft.com/office/officeart/2005/8/layout/vList2"/>
    <dgm:cxn modelId="{3AAD60B1-247D-4841-A655-12D8318FA01F}" type="presParOf" srcId="{14C1D0F4-7632-4C5B-80F3-1E24D29E9F5E}" destId="{4835DBBA-F47D-4467-92CD-00AEE904557B}" srcOrd="1" destOrd="0" presId="urn:microsoft.com/office/officeart/2005/8/layout/vList2"/>
    <dgm:cxn modelId="{D0284294-9A79-4BCC-953D-64691F0B0629}" type="presParOf" srcId="{14C1D0F4-7632-4C5B-80F3-1E24D29E9F5E}" destId="{1EBB08F3-201C-4862-960D-19A07B2FB714}" srcOrd="2" destOrd="0" presId="urn:microsoft.com/office/officeart/2005/8/layout/vList2"/>
    <dgm:cxn modelId="{ACCEFAFB-2A29-4279-B233-B9ACBA048A27}" type="presParOf" srcId="{14C1D0F4-7632-4C5B-80F3-1E24D29E9F5E}" destId="{8839B151-3322-4265-B889-7517A83C829C}" srcOrd="3" destOrd="0" presId="urn:microsoft.com/office/officeart/2005/8/layout/vList2"/>
    <dgm:cxn modelId="{82CB6824-8AFD-4296-8E57-6D4E9A006397}" type="presParOf" srcId="{14C1D0F4-7632-4C5B-80F3-1E24D29E9F5E}" destId="{7D22A68D-A3A3-4A1F-B053-A6808EDEFEA3}" srcOrd="4" destOrd="0" presId="urn:microsoft.com/office/officeart/2005/8/layout/vList2"/>
    <dgm:cxn modelId="{1272078A-0105-446F-AB1D-E72AFBAB1511}" type="presParOf" srcId="{14C1D0F4-7632-4C5B-80F3-1E24D29E9F5E}" destId="{9C79D66D-536A-4BDA-8D74-C590A5B2723C}" srcOrd="5" destOrd="0" presId="urn:microsoft.com/office/officeart/2005/8/layout/vList2"/>
    <dgm:cxn modelId="{62F00120-B9F1-4B0D-A8EE-B4A69031397E}" type="presParOf" srcId="{14C1D0F4-7632-4C5B-80F3-1E24D29E9F5E}" destId="{CD28C434-F152-45BD-B3C8-0F1F2221AFFD}" srcOrd="6" destOrd="0" presId="urn:microsoft.com/office/officeart/2005/8/layout/vList2"/>
    <dgm:cxn modelId="{E3AD6E35-8E4B-4389-B67D-BD21FD055B32}" type="presParOf" srcId="{14C1D0F4-7632-4C5B-80F3-1E24D29E9F5E}" destId="{F0B34F08-E669-4520-9CAE-11B195436899}" srcOrd="7" destOrd="0" presId="urn:microsoft.com/office/officeart/2005/8/layout/vList2"/>
    <dgm:cxn modelId="{94760A2F-ED80-492B-BF76-C7AC9D4AFD5A}" type="presParOf" srcId="{14C1D0F4-7632-4C5B-80F3-1E24D29E9F5E}" destId="{20945FA4-A1AF-4C1C-AE23-768B20420BEB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1FAB059-D1ED-496B-BDA3-C269D1EFB4F3}" type="doc">
      <dgm:prSet loTypeId="urn:microsoft.com/office/officeart/2005/8/layout/radial1" loCatId="relationship" qsTypeId="urn:microsoft.com/office/officeart/2005/8/quickstyle/simple3" qsCatId="simple" csTypeId="urn:microsoft.com/office/officeart/2005/8/colors/accent5_2" csCatId="accent5" phldr="1"/>
      <dgm:spPr/>
      <dgm:t>
        <a:bodyPr/>
        <a:lstStyle/>
        <a:p>
          <a:endParaRPr lang="fr-FR"/>
        </a:p>
      </dgm:t>
    </dgm:pt>
    <dgm:pt modelId="{436BC1D8-029C-4C87-8D70-F4BB0EE42349}">
      <dgm:prSet phldrT="[Texte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fr-FR" sz="1600" b="1" u="none" dirty="0" smtClean="0">
              <a:effectLst/>
            </a:rPr>
            <a:t>Gaspillages</a:t>
          </a:r>
          <a:endParaRPr lang="fr-FR" sz="1600" b="1" u="none" dirty="0">
            <a:effectLst/>
          </a:endParaRPr>
        </a:p>
      </dgm:t>
    </dgm:pt>
    <dgm:pt modelId="{DBEDD9B9-5F0F-4DBB-9A71-AB194C27E817}" type="parTrans" cxnId="{A1B3220A-D53C-4E42-8114-DBBE8640245C}">
      <dgm:prSet/>
      <dgm:spPr/>
      <dgm:t>
        <a:bodyPr/>
        <a:lstStyle/>
        <a:p>
          <a:endParaRPr lang="fr-FR" sz="2000"/>
        </a:p>
      </dgm:t>
    </dgm:pt>
    <dgm:pt modelId="{F513B858-AAFB-4137-9472-97681FEFDB1C}" type="sibTrans" cxnId="{A1B3220A-D53C-4E42-8114-DBBE8640245C}">
      <dgm:prSet/>
      <dgm:spPr/>
      <dgm:t>
        <a:bodyPr/>
        <a:lstStyle/>
        <a:p>
          <a:endParaRPr lang="fr-FR" sz="2000"/>
        </a:p>
      </dgm:t>
    </dgm:pt>
    <dgm:pt modelId="{78946687-5D27-4EEC-929F-5BA9FAC73A04}">
      <dgm:prSet phldrT="[Texte]" custT="1"/>
      <dgm:spPr/>
      <dgm:t>
        <a:bodyPr/>
        <a:lstStyle/>
        <a:p>
          <a:r>
            <a:rPr lang="fr-FR" sz="1200" b="1" dirty="0" smtClean="0">
              <a:latin typeface="Book Antiqua" pitchFamily="18" charset="0"/>
            </a:rPr>
            <a:t>Sur production </a:t>
          </a:r>
          <a:endParaRPr lang="fr-FR" sz="1200" dirty="0"/>
        </a:p>
      </dgm:t>
    </dgm:pt>
    <dgm:pt modelId="{BD3FFE31-A210-458F-9815-1EEE38F8DB58}" type="parTrans" cxnId="{ACF1D87F-1EA8-4271-AE49-65AF0C9009D5}">
      <dgm:prSet custT="1"/>
      <dgm:spPr/>
      <dgm:t>
        <a:bodyPr/>
        <a:lstStyle/>
        <a:p>
          <a:endParaRPr lang="fr-FR" sz="600"/>
        </a:p>
      </dgm:t>
    </dgm:pt>
    <dgm:pt modelId="{964F7960-3A8E-46F1-92A5-8E63D867ED9F}" type="sibTrans" cxnId="{ACF1D87F-1EA8-4271-AE49-65AF0C9009D5}">
      <dgm:prSet/>
      <dgm:spPr/>
      <dgm:t>
        <a:bodyPr/>
        <a:lstStyle/>
        <a:p>
          <a:endParaRPr lang="fr-FR" sz="2000"/>
        </a:p>
      </dgm:t>
    </dgm:pt>
    <dgm:pt modelId="{BA2790BF-54BB-48F1-BFB2-508968732A82}">
      <dgm:prSet phldrT="[Texte]" custT="1"/>
      <dgm:spPr/>
      <dgm:t>
        <a:bodyPr/>
        <a:lstStyle/>
        <a:p>
          <a:r>
            <a:rPr lang="fr-FR" sz="1200" b="1" dirty="0" smtClean="0">
              <a:latin typeface="Book Antiqua" pitchFamily="18" charset="0"/>
            </a:rPr>
            <a:t>Stockage</a:t>
          </a:r>
          <a:endParaRPr lang="fr-FR" sz="1200" b="1" dirty="0"/>
        </a:p>
      </dgm:t>
    </dgm:pt>
    <dgm:pt modelId="{D40DCC99-3C7C-4685-BEBF-387E354B2803}" type="parTrans" cxnId="{11BCE2FB-DF6A-4558-9A93-5ACD3BE5562B}">
      <dgm:prSet custT="1"/>
      <dgm:spPr/>
      <dgm:t>
        <a:bodyPr/>
        <a:lstStyle/>
        <a:p>
          <a:endParaRPr lang="fr-FR" sz="600"/>
        </a:p>
      </dgm:t>
    </dgm:pt>
    <dgm:pt modelId="{9BEAF0E4-0FE9-41B6-9AC1-F52A1938B49F}" type="sibTrans" cxnId="{11BCE2FB-DF6A-4558-9A93-5ACD3BE5562B}">
      <dgm:prSet/>
      <dgm:spPr/>
      <dgm:t>
        <a:bodyPr/>
        <a:lstStyle/>
        <a:p>
          <a:endParaRPr lang="fr-FR" sz="2000"/>
        </a:p>
      </dgm:t>
    </dgm:pt>
    <dgm:pt modelId="{6B46AA66-6DE3-4F38-B485-958B34AFE966}">
      <dgm:prSet phldrT="[Texte]" custT="1"/>
      <dgm:spPr/>
      <dgm:t>
        <a:bodyPr/>
        <a:lstStyle/>
        <a:p>
          <a:r>
            <a:rPr lang="fr-FR" sz="1200" b="1" smtClean="0">
              <a:latin typeface="Book Antiqua" pitchFamily="18" charset="0"/>
            </a:rPr>
            <a:t>Transport</a:t>
          </a:r>
          <a:endParaRPr lang="fr-FR" sz="1200" dirty="0"/>
        </a:p>
      </dgm:t>
    </dgm:pt>
    <dgm:pt modelId="{E97FB530-E68D-41E3-9EA3-9E018F5EC106}" type="parTrans" cxnId="{06340F28-1367-4B28-8199-B3B409188350}">
      <dgm:prSet custT="1"/>
      <dgm:spPr/>
      <dgm:t>
        <a:bodyPr/>
        <a:lstStyle/>
        <a:p>
          <a:endParaRPr lang="fr-FR" sz="600"/>
        </a:p>
      </dgm:t>
    </dgm:pt>
    <dgm:pt modelId="{091DD8E0-3AB2-4038-AEB4-9C1D9A0C1DBB}" type="sibTrans" cxnId="{06340F28-1367-4B28-8199-B3B409188350}">
      <dgm:prSet/>
      <dgm:spPr/>
      <dgm:t>
        <a:bodyPr/>
        <a:lstStyle/>
        <a:p>
          <a:endParaRPr lang="fr-FR" sz="2000"/>
        </a:p>
      </dgm:t>
    </dgm:pt>
    <dgm:pt modelId="{F1EBAFC4-6F3A-480D-ADF1-9CF6D2B40260}">
      <dgm:prSet phldrT="[Texte]" custT="1"/>
      <dgm:spPr/>
      <dgm:t>
        <a:bodyPr/>
        <a:lstStyle/>
        <a:p>
          <a:r>
            <a:rPr lang="fr-FR" sz="1150" b="1" dirty="0" smtClean="0">
              <a:latin typeface="Book Antiqua" pitchFamily="18" charset="0"/>
            </a:rPr>
            <a:t>Déplacement</a:t>
          </a:r>
          <a:r>
            <a:rPr lang="fr-FR" sz="1150" dirty="0" smtClean="0">
              <a:latin typeface="Book Antiqua" pitchFamily="18" charset="0"/>
            </a:rPr>
            <a:t> </a:t>
          </a:r>
          <a:endParaRPr lang="fr-FR" sz="1150" dirty="0"/>
        </a:p>
      </dgm:t>
    </dgm:pt>
    <dgm:pt modelId="{DD5DA4D6-8483-4213-AB10-8CF9A51D516D}" type="parTrans" cxnId="{45A615A2-029B-4602-A9B1-2161CFDC79BD}">
      <dgm:prSet custT="1"/>
      <dgm:spPr/>
      <dgm:t>
        <a:bodyPr/>
        <a:lstStyle/>
        <a:p>
          <a:endParaRPr lang="fr-FR" sz="600"/>
        </a:p>
      </dgm:t>
    </dgm:pt>
    <dgm:pt modelId="{0722C765-F4ED-4AAE-803F-C58A6509BF7C}" type="sibTrans" cxnId="{45A615A2-029B-4602-A9B1-2161CFDC79BD}">
      <dgm:prSet/>
      <dgm:spPr/>
      <dgm:t>
        <a:bodyPr/>
        <a:lstStyle/>
        <a:p>
          <a:endParaRPr lang="fr-FR" sz="2000"/>
        </a:p>
      </dgm:t>
    </dgm:pt>
    <dgm:pt modelId="{40D284FD-9975-41A1-873A-104435133A2F}">
      <dgm:prSet phldrT="[Texte]" custT="1"/>
      <dgm:spPr/>
      <dgm:t>
        <a:bodyPr/>
        <a:lstStyle/>
        <a:p>
          <a:r>
            <a:rPr lang="fr-FR" sz="1200" b="1" dirty="0" smtClean="0">
              <a:latin typeface="Book Antiqua" pitchFamily="18" charset="0"/>
            </a:rPr>
            <a:t>Over </a:t>
          </a:r>
          <a:r>
            <a:rPr lang="fr-FR" sz="1200" b="1" dirty="0" err="1" smtClean="0">
              <a:latin typeface="Book Antiqua" pitchFamily="18" charset="0"/>
            </a:rPr>
            <a:t>processing</a:t>
          </a:r>
          <a:r>
            <a:rPr lang="fr-FR" sz="1200" b="1" dirty="0" smtClean="0">
              <a:latin typeface="Book Antiqua" pitchFamily="18" charset="0"/>
            </a:rPr>
            <a:t> </a:t>
          </a:r>
          <a:endParaRPr lang="fr-FR" sz="1200" dirty="0"/>
        </a:p>
      </dgm:t>
    </dgm:pt>
    <dgm:pt modelId="{9352FE8E-60D0-414F-B8F8-D3901D84C21D}" type="parTrans" cxnId="{4D218AC2-5C45-45E1-982C-B4CF6F707168}">
      <dgm:prSet custT="1"/>
      <dgm:spPr/>
      <dgm:t>
        <a:bodyPr/>
        <a:lstStyle/>
        <a:p>
          <a:endParaRPr lang="fr-FR" sz="600"/>
        </a:p>
      </dgm:t>
    </dgm:pt>
    <dgm:pt modelId="{31B1C2C2-F114-428F-841D-09458EDF0564}" type="sibTrans" cxnId="{4D218AC2-5C45-45E1-982C-B4CF6F707168}">
      <dgm:prSet/>
      <dgm:spPr/>
      <dgm:t>
        <a:bodyPr/>
        <a:lstStyle/>
        <a:p>
          <a:endParaRPr lang="fr-FR" sz="2000"/>
        </a:p>
      </dgm:t>
    </dgm:pt>
    <dgm:pt modelId="{AE9C6339-C148-442D-99A6-0B1A29C60EDB}">
      <dgm:prSet phldrT="[Texte]" custT="1"/>
      <dgm:spPr/>
      <dgm:t>
        <a:bodyPr/>
        <a:lstStyle/>
        <a:p>
          <a:r>
            <a:rPr lang="fr-FR" sz="1200" b="1" smtClean="0">
              <a:latin typeface="Book Antiqua" pitchFamily="18" charset="0"/>
            </a:rPr>
            <a:t>Attente</a:t>
          </a:r>
          <a:endParaRPr lang="fr-FR" sz="1200" dirty="0"/>
        </a:p>
      </dgm:t>
    </dgm:pt>
    <dgm:pt modelId="{EF99D110-F678-4BED-8495-9323086C5843}" type="parTrans" cxnId="{A5B6404A-AE01-4890-B571-F11F843E7BBD}">
      <dgm:prSet custT="1"/>
      <dgm:spPr/>
      <dgm:t>
        <a:bodyPr/>
        <a:lstStyle/>
        <a:p>
          <a:endParaRPr lang="fr-FR" sz="600"/>
        </a:p>
      </dgm:t>
    </dgm:pt>
    <dgm:pt modelId="{4F7975A9-30AF-45E1-A9D4-75DE21E462F9}" type="sibTrans" cxnId="{A5B6404A-AE01-4890-B571-F11F843E7BBD}">
      <dgm:prSet/>
      <dgm:spPr/>
      <dgm:t>
        <a:bodyPr/>
        <a:lstStyle/>
        <a:p>
          <a:endParaRPr lang="fr-FR" sz="2000"/>
        </a:p>
      </dgm:t>
    </dgm:pt>
    <dgm:pt modelId="{A521A571-93E1-4CC6-ACB7-4B6FA3C41679}">
      <dgm:prSet phldrT="[Texte]" custT="1"/>
      <dgm:spPr/>
      <dgm:t>
        <a:bodyPr/>
        <a:lstStyle/>
        <a:p>
          <a:r>
            <a:rPr lang="fr-FR" sz="1200" b="1" smtClean="0">
              <a:latin typeface="Book Antiqua" pitchFamily="18" charset="0"/>
            </a:rPr>
            <a:t>Redondance</a:t>
          </a:r>
          <a:endParaRPr lang="fr-FR" sz="1200" dirty="0"/>
        </a:p>
      </dgm:t>
    </dgm:pt>
    <dgm:pt modelId="{EF3AD1B2-5915-4DEC-B645-41485324EA67}" type="parTrans" cxnId="{9912E28F-9A6A-4DA9-81E7-456B6D1CA230}">
      <dgm:prSet custT="1"/>
      <dgm:spPr/>
      <dgm:t>
        <a:bodyPr/>
        <a:lstStyle/>
        <a:p>
          <a:endParaRPr lang="fr-FR" sz="600"/>
        </a:p>
      </dgm:t>
    </dgm:pt>
    <dgm:pt modelId="{CCA96DE7-C2D5-436B-9439-A1FA53A9CABA}" type="sibTrans" cxnId="{9912E28F-9A6A-4DA9-81E7-456B6D1CA230}">
      <dgm:prSet/>
      <dgm:spPr/>
      <dgm:t>
        <a:bodyPr/>
        <a:lstStyle/>
        <a:p>
          <a:endParaRPr lang="fr-FR" sz="2000"/>
        </a:p>
      </dgm:t>
    </dgm:pt>
    <dgm:pt modelId="{BD6971DA-3A68-48B0-B1E5-67E8AEFE3C1B}" type="pres">
      <dgm:prSet presAssocID="{61FAB059-D1ED-496B-BDA3-C269D1EFB4F3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E44DA6DA-6B31-4B2A-B4A4-5C38DE5015D6}" type="pres">
      <dgm:prSet presAssocID="{436BC1D8-029C-4C87-8D70-F4BB0EE42349}" presName="centerShape" presStyleLbl="node0" presStyleIdx="0" presStyleCnt="1" custScaleX="129490"/>
      <dgm:spPr/>
      <dgm:t>
        <a:bodyPr/>
        <a:lstStyle/>
        <a:p>
          <a:endParaRPr lang="fr-FR"/>
        </a:p>
      </dgm:t>
    </dgm:pt>
    <dgm:pt modelId="{CD3A20BE-2085-49F8-9E97-5E24C2B6C5C2}" type="pres">
      <dgm:prSet presAssocID="{BD3FFE31-A210-458F-9815-1EEE38F8DB58}" presName="Name9" presStyleLbl="parChTrans1D2" presStyleIdx="0" presStyleCnt="7"/>
      <dgm:spPr/>
      <dgm:t>
        <a:bodyPr/>
        <a:lstStyle/>
        <a:p>
          <a:endParaRPr lang="fr-FR"/>
        </a:p>
      </dgm:t>
    </dgm:pt>
    <dgm:pt modelId="{563F5254-BC51-46D9-A0E1-89F6417807E6}" type="pres">
      <dgm:prSet presAssocID="{BD3FFE31-A210-458F-9815-1EEE38F8DB58}" presName="connTx" presStyleLbl="parChTrans1D2" presStyleIdx="0" presStyleCnt="7"/>
      <dgm:spPr/>
      <dgm:t>
        <a:bodyPr/>
        <a:lstStyle/>
        <a:p>
          <a:endParaRPr lang="fr-FR"/>
        </a:p>
      </dgm:t>
    </dgm:pt>
    <dgm:pt modelId="{451F130C-2D1D-40FF-A482-66BE91D291E9}" type="pres">
      <dgm:prSet presAssocID="{78946687-5D27-4EEC-929F-5BA9FAC73A04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E04BE8F-46E9-4786-AE43-2E42089C41DC}" type="pres">
      <dgm:prSet presAssocID="{D40DCC99-3C7C-4685-BEBF-387E354B2803}" presName="Name9" presStyleLbl="parChTrans1D2" presStyleIdx="1" presStyleCnt="7"/>
      <dgm:spPr/>
      <dgm:t>
        <a:bodyPr/>
        <a:lstStyle/>
        <a:p>
          <a:endParaRPr lang="fr-FR"/>
        </a:p>
      </dgm:t>
    </dgm:pt>
    <dgm:pt modelId="{FB13E080-FEED-4581-96BA-7A7D3E8A69EC}" type="pres">
      <dgm:prSet presAssocID="{D40DCC99-3C7C-4685-BEBF-387E354B2803}" presName="connTx" presStyleLbl="parChTrans1D2" presStyleIdx="1" presStyleCnt="7"/>
      <dgm:spPr/>
      <dgm:t>
        <a:bodyPr/>
        <a:lstStyle/>
        <a:p>
          <a:endParaRPr lang="fr-FR"/>
        </a:p>
      </dgm:t>
    </dgm:pt>
    <dgm:pt modelId="{F366D771-569D-47A4-A66B-3664D14BF770}" type="pres">
      <dgm:prSet presAssocID="{BA2790BF-54BB-48F1-BFB2-508968732A82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ABD862C-E996-4A51-9429-543304BBE3DE}" type="pres">
      <dgm:prSet presAssocID="{E97FB530-E68D-41E3-9EA3-9E018F5EC106}" presName="Name9" presStyleLbl="parChTrans1D2" presStyleIdx="2" presStyleCnt="7"/>
      <dgm:spPr/>
      <dgm:t>
        <a:bodyPr/>
        <a:lstStyle/>
        <a:p>
          <a:endParaRPr lang="fr-FR"/>
        </a:p>
      </dgm:t>
    </dgm:pt>
    <dgm:pt modelId="{A613E5C0-832F-4C38-A265-7693A90D1BBB}" type="pres">
      <dgm:prSet presAssocID="{E97FB530-E68D-41E3-9EA3-9E018F5EC106}" presName="connTx" presStyleLbl="parChTrans1D2" presStyleIdx="2" presStyleCnt="7"/>
      <dgm:spPr/>
      <dgm:t>
        <a:bodyPr/>
        <a:lstStyle/>
        <a:p>
          <a:endParaRPr lang="fr-FR"/>
        </a:p>
      </dgm:t>
    </dgm:pt>
    <dgm:pt modelId="{D65672DC-3058-4939-84AE-B78E884B303A}" type="pres">
      <dgm:prSet presAssocID="{6B46AA66-6DE3-4F38-B485-958B34AFE966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F7E948E-F621-46F4-A8A8-94C8A7507D91}" type="pres">
      <dgm:prSet presAssocID="{DD5DA4D6-8483-4213-AB10-8CF9A51D516D}" presName="Name9" presStyleLbl="parChTrans1D2" presStyleIdx="3" presStyleCnt="7"/>
      <dgm:spPr/>
      <dgm:t>
        <a:bodyPr/>
        <a:lstStyle/>
        <a:p>
          <a:endParaRPr lang="fr-FR"/>
        </a:p>
      </dgm:t>
    </dgm:pt>
    <dgm:pt modelId="{73173A64-2491-4CA1-96D6-61B5923C6022}" type="pres">
      <dgm:prSet presAssocID="{DD5DA4D6-8483-4213-AB10-8CF9A51D516D}" presName="connTx" presStyleLbl="parChTrans1D2" presStyleIdx="3" presStyleCnt="7"/>
      <dgm:spPr/>
      <dgm:t>
        <a:bodyPr/>
        <a:lstStyle/>
        <a:p>
          <a:endParaRPr lang="fr-FR"/>
        </a:p>
      </dgm:t>
    </dgm:pt>
    <dgm:pt modelId="{E700AD8B-4432-4FC3-AF9E-D55F05F77B27}" type="pres">
      <dgm:prSet presAssocID="{F1EBAFC4-6F3A-480D-ADF1-9CF6D2B40260}" presName="node" presStyleLbl="node1" presStyleIdx="3" presStyleCnt="7" custScaleX="10062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76D1AC5-BC6A-4235-99D5-ADEEECF3FEAD}" type="pres">
      <dgm:prSet presAssocID="{9352FE8E-60D0-414F-B8F8-D3901D84C21D}" presName="Name9" presStyleLbl="parChTrans1D2" presStyleIdx="4" presStyleCnt="7"/>
      <dgm:spPr/>
      <dgm:t>
        <a:bodyPr/>
        <a:lstStyle/>
        <a:p>
          <a:endParaRPr lang="fr-FR"/>
        </a:p>
      </dgm:t>
    </dgm:pt>
    <dgm:pt modelId="{102BEDA4-FED4-4587-8184-1B1B4DADFCCD}" type="pres">
      <dgm:prSet presAssocID="{9352FE8E-60D0-414F-B8F8-D3901D84C21D}" presName="connTx" presStyleLbl="parChTrans1D2" presStyleIdx="4" presStyleCnt="7"/>
      <dgm:spPr/>
      <dgm:t>
        <a:bodyPr/>
        <a:lstStyle/>
        <a:p>
          <a:endParaRPr lang="fr-FR"/>
        </a:p>
      </dgm:t>
    </dgm:pt>
    <dgm:pt modelId="{4DD6D27E-422A-422E-B321-A803216979D7}" type="pres">
      <dgm:prSet presAssocID="{40D284FD-9975-41A1-873A-104435133A2F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F1F9A77-D873-4715-BD28-21D69B142239}" type="pres">
      <dgm:prSet presAssocID="{EF99D110-F678-4BED-8495-9323086C5843}" presName="Name9" presStyleLbl="parChTrans1D2" presStyleIdx="5" presStyleCnt="7"/>
      <dgm:spPr/>
      <dgm:t>
        <a:bodyPr/>
        <a:lstStyle/>
        <a:p>
          <a:endParaRPr lang="fr-FR"/>
        </a:p>
      </dgm:t>
    </dgm:pt>
    <dgm:pt modelId="{14D4A0B3-AEA0-4779-A25A-F746C6E18662}" type="pres">
      <dgm:prSet presAssocID="{EF99D110-F678-4BED-8495-9323086C5843}" presName="connTx" presStyleLbl="parChTrans1D2" presStyleIdx="5" presStyleCnt="7"/>
      <dgm:spPr/>
      <dgm:t>
        <a:bodyPr/>
        <a:lstStyle/>
        <a:p>
          <a:endParaRPr lang="fr-FR"/>
        </a:p>
      </dgm:t>
    </dgm:pt>
    <dgm:pt modelId="{F4DD368C-E582-466A-969B-B4ABD9CDC2D7}" type="pres">
      <dgm:prSet presAssocID="{AE9C6339-C148-442D-99A6-0B1A29C60EDB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300E62-8661-45A4-970F-FFCDD82FF834}" type="pres">
      <dgm:prSet presAssocID="{EF3AD1B2-5915-4DEC-B645-41485324EA67}" presName="Name9" presStyleLbl="parChTrans1D2" presStyleIdx="6" presStyleCnt="7"/>
      <dgm:spPr/>
      <dgm:t>
        <a:bodyPr/>
        <a:lstStyle/>
        <a:p>
          <a:endParaRPr lang="fr-FR"/>
        </a:p>
      </dgm:t>
    </dgm:pt>
    <dgm:pt modelId="{F708FEC6-5DE9-4FB1-BF41-07F3AEEFBC5D}" type="pres">
      <dgm:prSet presAssocID="{EF3AD1B2-5915-4DEC-B645-41485324EA67}" presName="connTx" presStyleLbl="parChTrans1D2" presStyleIdx="6" presStyleCnt="7"/>
      <dgm:spPr/>
      <dgm:t>
        <a:bodyPr/>
        <a:lstStyle/>
        <a:p>
          <a:endParaRPr lang="fr-FR"/>
        </a:p>
      </dgm:t>
    </dgm:pt>
    <dgm:pt modelId="{C697181E-1AB5-437B-B70B-70338C41DE8E}" type="pres">
      <dgm:prSet presAssocID="{A521A571-93E1-4CC6-ACB7-4B6FA3C41679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C2E7802-CC61-4224-9109-5941BBCDB7EF}" type="presOf" srcId="{A521A571-93E1-4CC6-ACB7-4B6FA3C41679}" destId="{C697181E-1AB5-437B-B70B-70338C41DE8E}" srcOrd="0" destOrd="0" presId="urn:microsoft.com/office/officeart/2005/8/layout/radial1"/>
    <dgm:cxn modelId="{D315DD89-1210-401B-AB16-52D9757C462E}" type="presOf" srcId="{6B46AA66-6DE3-4F38-B485-958B34AFE966}" destId="{D65672DC-3058-4939-84AE-B78E884B303A}" srcOrd="0" destOrd="0" presId="urn:microsoft.com/office/officeart/2005/8/layout/radial1"/>
    <dgm:cxn modelId="{AC74E662-9691-48FC-BBBC-32C63660174C}" type="presOf" srcId="{EF99D110-F678-4BED-8495-9323086C5843}" destId="{14D4A0B3-AEA0-4779-A25A-F746C6E18662}" srcOrd="1" destOrd="0" presId="urn:microsoft.com/office/officeart/2005/8/layout/radial1"/>
    <dgm:cxn modelId="{51824A2C-DF3A-4A7A-B4F0-455D1EE190D7}" type="presOf" srcId="{BA2790BF-54BB-48F1-BFB2-508968732A82}" destId="{F366D771-569D-47A4-A66B-3664D14BF770}" srcOrd="0" destOrd="0" presId="urn:microsoft.com/office/officeart/2005/8/layout/radial1"/>
    <dgm:cxn modelId="{890FE7C1-2427-4163-A4CF-77A8D7408D48}" type="presOf" srcId="{AE9C6339-C148-442D-99A6-0B1A29C60EDB}" destId="{F4DD368C-E582-466A-969B-B4ABD9CDC2D7}" srcOrd="0" destOrd="0" presId="urn:microsoft.com/office/officeart/2005/8/layout/radial1"/>
    <dgm:cxn modelId="{11BCE2FB-DF6A-4558-9A93-5ACD3BE5562B}" srcId="{436BC1D8-029C-4C87-8D70-F4BB0EE42349}" destId="{BA2790BF-54BB-48F1-BFB2-508968732A82}" srcOrd="1" destOrd="0" parTransId="{D40DCC99-3C7C-4685-BEBF-387E354B2803}" sibTransId="{9BEAF0E4-0FE9-41B6-9AC1-F52A1938B49F}"/>
    <dgm:cxn modelId="{A825386F-AEC8-4E08-8E26-52636B6D7723}" type="presOf" srcId="{BD3FFE31-A210-458F-9815-1EEE38F8DB58}" destId="{CD3A20BE-2085-49F8-9E97-5E24C2B6C5C2}" srcOrd="0" destOrd="0" presId="urn:microsoft.com/office/officeart/2005/8/layout/radial1"/>
    <dgm:cxn modelId="{A5B6404A-AE01-4890-B571-F11F843E7BBD}" srcId="{436BC1D8-029C-4C87-8D70-F4BB0EE42349}" destId="{AE9C6339-C148-442D-99A6-0B1A29C60EDB}" srcOrd="5" destOrd="0" parTransId="{EF99D110-F678-4BED-8495-9323086C5843}" sibTransId="{4F7975A9-30AF-45E1-A9D4-75DE21E462F9}"/>
    <dgm:cxn modelId="{ACF1D87F-1EA8-4271-AE49-65AF0C9009D5}" srcId="{436BC1D8-029C-4C87-8D70-F4BB0EE42349}" destId="{78946687-5D27-4EEC-929F-5BA9FAC73A04}" srcOrd="0" destOrd="0" parTransId="{BD3FFE31-A210-458F-9815-1EEE38F8DB58}" sibTransId="{964F7960-3A8E-46F1-92A5-8E63D867ED9F}"/>
    <dgm:cxn modelId="{B28D9CF6-5246-4954-9D24-F593EAEE77A5}" type="presOf" srcId="{DD5DA4D6-8483-4213-AB10-8CF9A51D516D}" destId="{DF7E948E-F621-46F4-A8A8-94C8A7507D91}" srcOrd="0" destOrd="0" presId="urn:microsoft.com/office/officeart/2005/8/layout/radial1"/>
    <dgm:cxn modelId="{D4408394-FE60-43E7-A460-5B57498A0DE5}" type="presOf" srcId="{40D284FD-9975-41A1-873A-104435133A2F}" destId="{4DD6D27E-422A-422E-B321-A803216979D7}" srcOrd="0" destOrd="0" presId="urn:microsoft.com/office/officeart/2005/8/layout/radial1"/>
    <dgm:cxn modelId="{FC27C94F-7962-4361-9917-43B16B043FA2}" type="presOf" srcId="{EF3AD1B2-5915-4DEC-B645-41485324EA67}" destId="{6C300E62-8661-45A4-970F-FFCDD82FF834}" srcOrd="0" destOrd="0" presId="urn:microsoft.com/office/officeart/2005/8/layout/radial1"/>
    <dgm:cxn modelId="{A5F053E2-3118-45F0-B913-868A26BFE8BF}" type="presOf" srcId="{E97FB530-E68D-41E3-9EA3-9E018F5EC106}" destId="{FABD862C-E996-4A51-9429-543304BBE3DE}" srcOrd="0" destOrd="0" presId="urn:microsoft.com/office/officeart/2005/8/layout/radial1"/>
    <dgm:cxn modelId="{45A615A2-029B-4602-A9B1-2161CFDC79BD}" srcId="{436BC1D8-029C-4C87-8D70-F4BB0EE42349}" destId="{F1EBAFC4-6F3A-480D-ADF1-9CF6D2B40260}" srcOrd="3" destOrd="0" parTransId="{DD5DA4D6-8483-4213-AB10-8CF9A51D516D}" sibTransId="{0722C765-F4ED-4AAE-803F-C58A6509BF7C}"/>
    <dgm:cxn modelId="{398D88B4-C8B2-4F63-A4E8-09D213048D8B}" type="presOf" srcId="{D40DCC99-3C7C-4685-BEBF-387E354B2803}" destId="{2E04BE8F-46E9-4786-AE43-2E42089C41DC}" srcOrd="0" destOrd="0" presId="urn:microsoft.com/office/officeart/2005/8/layout/radial1"/>
    <dgm:cxn modelId="{0FDF6AFF-A4E2-47B9-9CAB-0D71D36806A2}" type="presOf" srcId="{F1EBAFC4-6F3A-480D-ADF1-9CF6D2B40260}" destId="{E700AD8B-4432-4FC3-AF9E-D55F05F77B27}" srcOrd="0" destOrd="0" presId="urn:microsoft.com/office/officeart/2005/8/layout/radial1"/>
    <dgm:cxn modelId="{A4B62403-52F2-424E-AB56-59FEA94F23D2}" type="presOf" srcId="{9352FE8E-60D0-414F-B8F8-D3901D84C21D}" destId="{102BEDA4-FED4-4587-8184-1B1B4DADFCCD}" srcOrd="1" destOrd="0" presId="urn:microsoft.com/office/officeart/2005/8/layout/radial1"/>
    <dgm:cxn modelId="{F2E4A7D9-B019-41C7-9661-99F2D9AF5F6B}" type="presOf" srcId="{61FAB059-D1ED-496B-BDA3-C269D1EFB4F3}" destId="{BD6971DA-3A68-48B0-B1E5-67E8AEFE3C1B}" srcOrd="0" destOrd="0" presId="urn:microsoft.com/office/officeart/2005/8/layout/radial1"/>
    <dgm:cxn modelId="{17E7B064-5040-4F03-A861-3935205A7756}" type="presOf" srcId="{BD3FFE31-A210-458F-9815-1EEE38F8DB58}" destId="{563F5254-BC51-46D9-A0E1-89F6417807E6}" srcOrd="1" destOrd="0" presId="urn:microsoft.com/office/officeart/2005/8/layout/radial1"/>
    <dgm:cxn modelId="{4D218AC2-5C45-45E1-982C-B4CF6F707168}" srcId="{436BC1D8-029C-4C87-8D70-F4BB0EE42349}" destId="{40D284FD-9975-41A1-873A-104435133A2F}" srcOrd="4" destOrd="0" parTransId="{9352FE8E-60D0-414F-B8F8-D3901D84C21D}" sibTransId="{31B1C2C2-F114-428F-841D-09458EDF0564}"/>
    <dgm:cxn modelId="{9912E28F-9A6A-4DA9-81E7-456B6D1CA230}" srcId="{436BC1D8-029C-4C87-8D70-F4BB0EE42349}" destId="{A521A571-93E1-4CC6-ACB7-4B6FA3C41679}" srcOrd="6" destOrd="0" parTransId="{EF3AD1B2-5915-4DEC-B645-41485324EA67}" sibTransId="{CCA96DE7-C2D5-436B-9439-A1FA53A9CABA}"/>
    <dgm:cxn modelId="{A3D661BF-A768-4844-9E41-3915F9E0B706}" type="presOf" srcId="{D40DCC99-3C7C-4685-BEBF-387E354B2803}" destId="{FB13E080-FEED-4581-96BA-7A7D3E8A69EC}" srcOrd="1" destOrd="0" presId="urn:microsoft.com/office/officeart/2005/8/layout/radial1"/>
    <dgm:cxn modelId="{E745797D-B0EA-4E7E-A7AD-7ABD91537521}" type="presOf" srcId="{78946687-5D27-4EEC-929F-5BA9FAC73A04}" destId="{451F130C-2D1D-40FF-A482-66BE91D291E9}" srcOrd="0" destOrd="0" presId="urn:microsoft.com/office/officeart/2005/8/layout/radial1"/>
    <dgm:cxn modelId="{6F318068-EAFE-4106-B361-77F95FCEE681}" type="presOf" srcId="{EF3AD1B2-5915-4DEC-B645-41485324EA67}" destId="{F708FEC6-5DE9-4FB1-BF41-07F3AEEFBC5D}" srcOrd="1" destOrd="0" presId="urn:microsoft.com/office/officeart/2005/8/layout/radial1"/>
    <dgm:cxn modelId="{06340F28-1367-4B28-8199-B3B409188350}" srcId="{436BC1D8-029C-4C87-8D70-F4BB0EE42349}" destId="{6B46AA66-6DE3-4F38-B485-958B34AFE966}" srcOrd="2" destOrd="0" parTransId="{E97FB530-E68D-41E3-9EA3-9E018F5EC106}" sibTransId="{091DD8E0-3AB2-4038-AEB4-9C1D9A0C1DBB}"/>
    <dgm:cxn modelId="{FAE31BBB-F452-4059-905F-8ACA23F736B0}" type="presOf" srcId="{9352FE8E-60D0-414F-B8F8-D3901D84C21D}" destId="{676D1AC5-BC6A-4235-99D5-ADEEECF3FEAD}" srcOrd="0" destOrd="0" presId="urn:microsoft.com/office/officeart/2005/8/layout/radial1"/>
    <dgm:cxn modelId="{A1B3220A-D53C-4E42-8114-DBBE8640245C}" srcId="{61FAB059-D1ED-496B-BDA3-C269D1EFB4F3}" destId="{436BC1D8-029C-4C87-8D70-F4BB0EE42349}" srcOrd="0" destOrd="0" parTransId="{DBEDD9B9-5F0F-4DBB-9A71-AB194C27E817}" sibTransId="{F513B858-AAFB-4137-9472-97681FEFDB1C}"/>
    <dgm:cxn modelId="{7A55C24C-1A94-4C4C-80D2-527C44C76846}" type="presOf" srcId="{436BC1D8-029C-4C87-8D70-F4BB0EE42349}" destId="{E44DA6DA-6B31-4B2A-B4A4-5C38DE5015D6}" srcOrd="0" destOrd="0" presId="urn:microsoft.com/office/officeart/2005/8/layout/radial1"/>
    <dgm:cxn modelId="{26755F5D-CF1E-4D44-9F31-9E2155BFF4D6}" type="presOf" srcId="{E97FB530-E68D-41E3-9EA3-9E018F5EC106}" destId="{A613E5C0-832F-4C38-A265-7693A90D1BBB}" srcOrd="1" destOrd="0" presId="urn:microsoft.com/office/officeart/2005/8/layout/radial1"/>
    <dgm:cxn modelId="{E85BB2C5-825F-43F8-8DC0-C6B999C59C3D}" type="presOf" srcId="{DD5DA4D6-8483-4213-AB10-8CF9A51D516D}" destId="{73173A64-2491-4CA1-96D6-61B5923C6022}" srcOrd="1" destOrd="0" presId="urn:microsoft.com/office/officeart/2005/8/layout/radial1"/>
    <dgm:cxn modelId="{40E6FD34-532B-4F07-85EE-F06BACB16A2A}" type="presOf" srcId="{EF99D110-F678-4BED-8495-9323086C5843}" destId="{EF1F9A77-D873-4715-BD28-21D69B142239}" srcOrd="0" destOrd="0" presId="urn:microsoft.com/office/officeart/2005/8/layout/radial1"/>
    <dgm:cxn modelId="{12206885-A01B-44B8-BB27-9B7C406F72B4}" type="presParOf" srcId="{BD6971DA-3A68-48B0-B1E5-67E8AEFE3C1B}" destId="{E44DA6DA-6B31-4B2A-B4A4-5C38DE5015D6}" srcOrd="0" destOrd="0" presId="urn:microsoft.com/office/officeart/2005/8/layout/radial1"/>
    <dgm:cxn modelId="{1CA8403E-8C3B-4228-AF60-9F420E4016E8}" type="presParOf" srcId="{BD6971DA-3A68-48B0-B1E5-67E8AEFE3C1B}" destId="{CD3A20BE-2085-49F8-9E97-5E24C2B6C5C2}" srcOrd="1" destOrd="0" presId="urn:microsoft.com/office/officeart/2005/8/layout/radial1"/>
    <dgm:cxn modelId="{2D4952AB-39C6-44E0-B4BE-BF98E3C67672}" type="presParOf" srcId="{CD3A20BE-2085-49F8-9E97-5E24C2B6C5C2}" destId="{563F5254-BC51-46D9-A0E1-89F6417807E6}" srcOrd="0" destOrd="0" presId="urn:microsoft.com/office/officeart/2005/8/layout/radial1"/>
    <dgm:cxn modelId="{6CCAEA02-729A-4B57-A1A8-E2EF8B662A37}" type="presParOf" srcId="{BD6971DA-3A68-48B0-B1E5-67E8AEFE3C1B}" destId="{451F130C-2D1D-40FF-A482-66BE91D291E9}" srcOrd="2" destOrd="0" presId="urn:microsoft.com/office/officeart/2005/8/layout/radial1"/>
    <dgm:cxn modelId="{74C99D81-3B69-499A-A37B-6D420D39784D}" type="presParOf" srcId="{BD6971DA-3A68-48B0-B1E5-67E8AEFE3C1B}" destId="{2E04BE8F-46E9-4786-AE43-2E42089C41DC}" srcOrd="3" destOrd="0" presId="urn:microsoft.com/office/officeart/2005/8/layout/radial1"/>
    <dgm:cxn modelId="{22F78EFC-0501-4385-98E0-3776CB292972}" type="presParOf" srcId="{2E04BE8F-46E9-4786-AE43-2E42089C41DC}" destId="{FB13E080-FEED-4581-96BA-7A7D3E8A69EC}" srcOrd="0" destOrd="0" presId="urn:microsoft.com/office/officeart/2005/8/layout/radial1"/>
    <dgm:cxn modelId="{FB6BFFA6-C3A4-4248-9F9C-F70FFAFCD61E}" type="presParOf" srcId="{BD6971DA-3A68-48B0-B1E5-67E8AEFE3C1B}" destId="{F366D771-569D-47A4-A66B-3664D14BF770}" srcOrd="4" destOrd="0" presId="urn:microsoft.com/office/officeart/2005/8/layout/radial1"/>
    <dgm:cxn modelId="{B4C45314-90BA-40FD-8610-C430EE4720F7}" type="presParOf" srcId="{BD6971DA-3A68-48B0-B1E5-67E8AEFE3C1B}" destId="{FABD862C-E996-4A51-9429-543304BBE3DE}" srcOrd="5" destOrd="0" presId="urn:microsoft.com/office/officeart/2005/8/layout/radial1"/>
    <dgm:cxn modelId="{FADA047B-6223-4582-A549-F07894314C46}" type="presParOf" srcId="{FABD862C-E996-4A51-9429-543304BBE3DE}" destId="{A613E5C0-832F-4C38-A265-7693A90D1BBB}" srcOrd="0" destOrd="0" presId="urn:microsoft.com/office/officeart/2005/8/layout/radial1"/>
    <dgm:cxn modelId="{BC789B77-B28D-468A-A057-5A78F83EA81F}" type="presParOf" srcId="{BD6971DA-3A68-48B0-B1E5-67E8AEFE3C1B}" destId="{D65672DC-3058-4939-84AE-B78E884B303A}" srcOrd="6" destOrd="0" presId="urn:microsoft.com/office/officeart/2005/8/layout/radial1"/>
    <dgm:cxn modelId="{0E61AB16-324F-4E17-9340-EB8FAB1AB41E}" type="presParOf" srcId="{BD6971DA-3A68-48B0-B1E5-67E8AEFE3C1B}" destId="{DF7E948E-F621-46F4-A8A8-94C8A7507D91}" srcOrd="7" destOrd="0" presId="urn:microsoft.com/office/officeart/2005/8/layout/radial1"/>
    <dgm:cxn modelId="{4DCA71FA-9122-49CE-B80A-E30D7A3B8D0A}" type="presParOf" srcId="{DF7E948E-F621-46F4-A8A8-94C8A7507D91}" destId="{73173A64-2491-4CA1-96D6-61B5923C6022}" srcOrd="0" destOrd="0" presId="urn:microsoft.com/office/officeart/2005/8/layout/radial1"/>
    <dgm:cxn modelId="{4022CC74-5469-4C03-985E-E0F586483B20}" type="presParOf" srcId="{BD6971DA-3A68-48B0-B1E5-67E8AEFE3C1B}" destId="{E700AD8B-4432-4FC3-AF9E-D55F05F77B27}" srcOrd="8" destOrd="0" presId="urn:microsoft.com/office/officeart/2005/8/layout/radial1"/>
    <dgm:cxn modelId="{F126F8B4-5B4A-49A2-B87E-27D3DFDD8940}" type="presParOf" srcId="{BD6971DA-3A68-48B0-B1E5-67E8AEFE3C1B}" destId="{676D1AC5-BC6A-4235-99D5-ADEEECF3FEAD}" srcOrd="9" destOrd="0" presId="urn:microsoft.com/office/officeart/2005/8/layout/radial1"/>
    <dgm:cxn modelId="{FE801B40-5486-4180-98DA-BA8836AAC25D}" type="presParOf" srcId="{676D1AC5-BC6A-4235-99D5-ADEEECF3FEAD}" destId="{102BEDA4-FED4-4587-8184-1B1B4DADFCCD}" srcOrd="0" destOrd="0" presId="urn:microsoft.com/office/officeart/2005/8/layout/radial1"/>
    <dgm:cxn modelId="{D9787F03-9F46-4E83-8C88-6C321E9DD205}" type="presParOf" srcId="{BD6971DA-3A68-48B0-B1E5-67E8AEFE3C1B}" destId="{4DD6D27E-422A-422E-B321-A803216979D7}" srcOrd="10" destOrd="0" presId="urn:microsoft.com/office/officeart/2005/8/layout/radial1"/>
    <dgm:cxn modelId="{5DDAE33E-A213-4A83-898C-FB0B1A82C834}" type="presParOf" srcId="{BD6971DA-3A68-48B0-B1E5-67E8AEFE3C1B}" destId="{EF1F9A77-D873-4715-BD28-21D69B142239}" srcOrd="11" destOrd="0" presId="urn:microsoft.com/office/officeart/2005/8/layout/radial1"/>
    <dgm:cxn modelId="{905715E2-3C3D-4DFB-B653-FE10ADC61007}" type="presParOf" srcId="{EF1F9A77-D873-4715-BD28-21D69B142239}" destId="{14D4A0B3-AEA0-4779-A25A-F746C6E18662}" srcOrd="0" destOrd="0" presId="urn:microsoft.com/office/officeart/2005/8/layout/radial1"/>
    <dgm:cxn modelId="{7565F96F-231D-4792-949F-7002EC9A7670}" type="presParOf" srcId="{BD6971DA-3A68-48B0-B1E5-67E8AEFE3C1B}" destId="{F4DD368C-E582-466A-969B-B4ABD9CDC2D7}" srcOrd="12" destOrd="0" presId="urn:microsoft.com/office/officeart/2005/8/layout/radial1"/>
    <dgm:cxn modelId="{FC01508E-D35B-4338-AE69-B61DB80ECBBA}" type="presParOf" srcId="{BD6971DA-3A68-48B0-B1E5-67E8AEFE3C1B}" destId="{6C300E62-8661-45A4-970F-FFCDD82FF834}" srcOrd="13" destOrd="0" presId="urn:microsoft.com/office/officeart/2005/8/layout/radial1"/>
    <dgm:cxn modelId="{D7571F71-8CC7-44EA-AC1D-100AAC367A97}" type="presParOf" srcId="{6C300E62-8661-45A4-970F-FFCDD82FF834}" destId="{F708FEC6-5DE9-4FB1-BF41-07F3AEEFBC5D}" srcOrd="0" destOrd="0" presId="urn:microsoft.com/office/officeart/2005/8/layout/radial1"/>
    <dgm:cxn modelId="{F71D5FE7-F187-4791-A7E1-7DE8BF45BE27}" type="presParOf" srcId="{BD6971DA-3A68-48B0-B1E5-67E8AEFE3C1B}" destId="{C697181E-1AB5-437B-B70B-70338C41DE8E}" srcOrd="14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4474D26-418E-4E9B-8B13-9CCDBCA0C47B}" type="doc">
      <dgm:prSet loTypeId="urn:microsoft.com/office/officeart/2005/8/layout/funnel1" loCatId="relationship" qsTypeId="urn:microsoft.com/office/officeart/2005/8/quickstyle/simple4" qsCatId="simple" csTypeId="urn:microsoft.com/office/officeart/2005/8/colors/accent5_2" csCatId="accent5" phldr="1"/>
      <dgm:spPr/>
      <dgm:t>
        <a:bodyPr/>
        <a:lstStyle/>
        <a:p>
          <a:endParaRPr lang="fr-FR"/>
        </a:p>
      </dgm:t>
    </dgm:pt>
    <dgm:pt modelId="{8EAFED04-7A07-434D-9E58-55F26054D842}">
      <dgm:prSet phldrT="[Texte]"/>
      <dgm:spPr/>
      <dgm:t>
        <a:bodyPr/>
        <a:lstStyle/>
        <a:p>
          <a:r>
            <a:rPr lang="fr-FR" dirty="0" smtClean="0"/>
            <a:t>Input</a:t>
          </a:r>
          <a:endParaRPr lang="fr-FR" dirty="0"/>
        </a:p>
      </dgm:t>
    </dgm:pt>
    <dgm:pt modelId="{C6F7AD91-195C-4761-9A70-A1A0FADF97CB}" type="parTrans" cxnId="{BBED24F4-C579-4382-9D74-46DEB54D0136}">
      <dgm:prSet/>
      <dgm:spPr/>
      <dgm:t>
        <a:bodyPr/>
        <a:lstStyle/>
        <a:p>
          <a:endParaRPr lang="fr-FR"/>
        </a:p>
      </dgm:t>
    </dgm:pt>
    <dgm:pt modelId="{BC641A77-3D83-4EAC-AE23-FC446D3203CB}" type="sibTrans" cxnId="{BBED24F4-C579-4382-9D74-46DEB54D0136}">
      <dgm:prSet/>
      <dgm:spPr/>
      <dgm:t>
        <a:bodyPr/>
        <a:lstStyle/>
        <a:p>
          <a:endParaRPr lang="fr-FR"/>
        </a:p>
      </dgm:t>
    </dgm:pt>
    <dgm:pt modelId="{FC054FD0-602B-4084-A5A0-5E28C271E064}">
      <dgm:prSet phldrT="[Texte]"/>
      <dgm:spPr/>
      <dgm:t>
        <a:bodyPr/>
        <a:lstStyle/>
        <a:p>
          <a:r>
            <a:rPr lang="fr-FR" dirty="0" smtClean="0"/>
            <a:t>Input</a:t>
          </a:r>
          <a:endParaRPr lang="fr-FR" dirty="0"/>
        </a:p>
      </dgm:t>
    </dgm:pt>
    <dgm:pt modelId="{DBB2EFDF-572B-4DC6-8BF4-C14470C56D10}" type="parTrans" cxnId="{02DCAAC4-476A-4CCC-A21D-B8EEE4AEFFE2}">
      <dgm:prSet/>
      <dgm:spPr/>
      <dgm:t>
        <a:bodyPr/>
        <a:lstStyle/>
        <a:p>
          <a:endParaRPr lang="fr-FR"/>
        </a:p>
      </dgm:t>
    </dgm:pt>
    <dgm:pt modelId="{A7376CC8-BCD9-459D-AF0C-9E54BF9E255F}" type="sibTrans" cxnId="{02DCAAC4-476A-4CCC-A21D-B8EEE4AEFFE2}">
      <dgm:prSet/>
      <dgm:spPr/>
      <dgm:t>
        <a:bodyPr/>
        <a:lstStyle/>
        <a:p>
          <a:endParaRPr lang="fr-FR"/>
        </a:p>
      </dgm:t>
    </dgm:pt>
    <dgm:pt modelId="{AC78F760-CCF0-4B62-9775-2B7738A92A80}">
      <dgm:prSet phldrT="[Texte]"/>
      <dgm:spPr/>
      <dgm:t>
        <a:bodyPr/>
        <a:lstStyle/>
        <a:p>
          <a:r>
            <a:rPr lang="fr-FR" dirty="0"/>
            <a:t>Input</a:t>
          </a:r>
        </a:p>
      </dgm:t>
    </dgm:pt>
    <dgm:pt modelId="{6FC9F448-21AF-40C4-9D56-09B12F79C006}" type="parTrans" cxnId="{D64981EF-76CE-426F-B961-2C72CD461CA2}">
      <dgm:prSet/>
      <dgm:spPr/>
      <dgm:t>
        <a:bodyPr/>
        <a:lstStyle/>
        <a:p>
          <a:endParaRPr lang="fr-FR"/>
        </a:p>
      </dgm:t>
    </dgm:pt>
    <dgm:pt modelId="{DB9235F0-FF17-440A-BEDB-14EBB78FACB6}" type="sibTrans" cxnId="{D64981EF-76CE-426F-B961-2C72CD461CA2}">
      <dgm:prSet/>
      <dgm:spPr/>
      <dgm:t>
        <a:bodyPr/>
        <a:lstStyle/>
        <a:p>
          <a:endParaRPr lang="fr-FR"/>
        </a:p>
      </dgm:t>
    </dgm:pt>
    <dgm:pt modelId="{29CD868F-8484-439E-9799-659A8A071428}">
      <dgm:prSet phldrT="[Texte]"/>
      <dgm:spPr/>
      <dgm:t>
        <a:bodyPr/>
        <a:lstStyle/>
        <a:p>
          <a:r>
            <a:rPr lang="fr-FR"/>
            <a:t>OutPut</a:t>
          </a:r>
        </a:p>
      </dgm:t>
    </dgm:pt>
    <dgm:pt modelId="{61006727-4439-4BF3-B223-9A7E19370BEC}" type="parTrans" cxnId="{97CE52C3-839B-4060-B25E-441EA386325F}">
      <dgm:prSet/>
      <dgm:spPr/>
      <dgm:t>
        <a:bodyPr/>
        <a:lstStyle/>
        <a:p>
          <a:endParaRPr lang="fr-FR"/>
        </a:p>
      </dgm:t>
    </dgm:pt>
    <dgm:pt modelId="{410E962E-112F-48E8-BF8F-4480EA9D645C}" type="sibTrans" cxnId="{97CE52C3-839B-4060-B25E-441EA386325F}">
      <dgm:prSet/>
      <dgm:spPr/>
      <dgm:t>
        <a:bodyPr/>
        <a:lstStyle/>
        <a:p>
          <a:endParaRPr lang="fr-FR"/>
        </a:p>
      </dgm:t>
    </dgm:pt>
    <dgm:pt modelId="{FE195102-5629-4AD0-BB1A-8EAA81398B78}" type="pres">
      <dgm:prSet presAssocID="{84474D26-418E-4E9B-8B13-9CCDBCA0C47B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F7013FA-A148-4D19-BE1B-2F2F88FA54F9}" type="pres">
      <dgm:prSet presAssocID="{84474D26-418E-4E9B-8B13-9CCDBCA0C47B}" presName="ellipse" presStyleLbl="trBgShp" presStyleIdx="0" presStyleCnt="1"/>
      <dgm:spPr/>
      <dgm:t>
        <a:bodyPr/>
        <a:lstStyle/>
        <a:p>
          <a:endParaRPr lang="fr-FR"/>
        </a:p>
      </dgm:t>
    </dgm:pt>
    <dgm:pt modelId="{61C3E120-4AC8-4566-9207-6930DBF02D61}" type="pres">
      <dgm:prSet presAssocID="{84474D26-418E-4E9B-8B13-9CCDBCA0C47B}" presName="arrow1" presStyleLbl="fgShp" presStyleIdx="0" presStyleCnt="1"/>
      <dgm:spPr/>
      <dgm:t>
        <a:bodyPr/>
        <a:lstStyle/>
        <a:p>
          <a:endParaRPr lang="fr-FR"/>
        </a:p>
      </dgm:t>
    </dgm:pt>
    <dgm:pt modelId="{CE42FD63-E09A-405B-AC36-EB1A13ED6251}" type="pres">
      <dgm:prSet presAssocID="{84474D26-418E-4E9B-8B13-9CCDBCA0C47B}" presName="rectangle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3401FEF-B925-4B04-946A-EC27F499006B}" type="pres">
      <dgm:prSet presAssocID="{FC054FD0-602B-4084-A5A0-5E28C271E064}" presName="item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09A4015-4ADF-4A9E-9976-4F757DB6458A}" type="pres">
      <dgm:prSet presAssocID="{AC78F760-CCF0-4B62-9775-2B7738A92A80}" presName="item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7BC115F-0048-4A26-B07C-DB16093631CE}" type="pres">
      <dgm:prSet presAssocID="{29CD868F-8484-439E-9799-659A8A071428}" presName="item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9E41946-ED5F-44EC-B9FD-926734FD52E7}" type="pres">
      <dgm:prSet presAssocID="{84474D26-418E-4E9B-8B13-9CCDBCA0C47B}" presName="funnel" presStyleLbl="trAlignAcc1" presStyleIdx="0" presStyleCnt="1"/>
      <dgm:spPr/>
      <dgm:t>
        <a:bodyPr/>
        <a:lstStyle/>
        <a:p>
          <a:endParaRPr lang="fr-FR"/>
        </a:p>
      </dgm:t>
    </dgm:pt>
  </dgm:ptLst>
  <dgm:cxnLst>
    <dgm:cxn modelId="{867348B2-63FB-409A-B999-65C86AC39815}" type="presOf" srcId="{AC78F760-CCF0-4B62-9775-2B7738A92A80}" destId="{C3401FEF-B925-4B04-946A-EC27F499006B}" srcOrd="0" destOrd="0" presId="urn:microsoft.com/office/officeart/2005/8/layout/funnel1"/>
    <dgm:cxn modelId="{97CE52C3-839B-4060-B25E-441EA386325F}" srcId="{84474D26-418E-4E9B-8B13-9CCDBCA0C47B}" destId="{29CD868F-8484-439E-9799-659A8A071428}" srcOrd="3" destOrd="0" parTransId="{61006727-4439-4BF3-B223-9A7E19370BEC}" sibTransId="{410E962E-112F-48E8-BF8F-4480EA9D645C}"/>
    <dgm:cxn modelId="{02DCAAC4-476A-4CCC-A21D-B8EEE4AEFFE2}" srcId="{84474D26-418E-4E9B-8B13-9CCDBCA0C47B}" destId="{FC054FD0-602B-4084-A5A0-5E28C271E064}" srcOrd="1" destOrd="0" parTransId="{DBB2EFDF-572B-4DC6-8BF4-C14470C56D10}" sibTransId="{A7376CC8-BCD9-459D-AF0C-9E54BF9E255F}"/>
    <dgm:cxn modelId="{BBED24F4-C579-4382-9D74-46DEB54D0136}" srcId="{84474D26-418E-4E9B-8B13-9CCDBCA0C47B}" destId="{8EAFED04-7A07-434D-9E58-55F26054D842}" srcOrd="0" destOrd="0" parTransId="{C6F7AD91-195C-4761-9A70-A1A0FADF97CB}" sibTransId="{BC641A77-3D83-4EAC-AE23-FC446D3203CB}"/>
    <dgm:cxn modelId="{D64981EF-76CE-426F-B961-2C72CD461CA2}" srcId="{84474D26-418E-4E9B-8B13-9CCDBCA0C47B}" destId="{AC78F760-CCF0-4B62-9775-2B7738A92A80}" srcOrd="2" destOrd="0" parTransId="{6FC9F448-21AF-40C4-9D56-09B12F79C006}" sibTransId="{DB9235F0-FF17-440A-BEDB-14EBB78FACB6}"/>
    <dgm:cxn modelId="{0471031B-44A6-45DB-8FA3-3E92812DE237}" type="presOf" srcId="{FC054FD0-602B-4084-A5A0-5E28C271E064}" destId="{F09A4015-4ADF-4A9E-9976-4F757DB6458A}" srcOrd="0" destOrd="0" presId="urn:microsoft.com/office/officeart/2005/8/layout/funnel1"/>
    <dgm:cxn modelId="{EFECA1B2-C34C-462E-9ECD-AE8144FC099D}" type="presOf" srcId="{8EAFED04-7A07-434D-9E58-55F26054D842}" destId="{F7BC115F-0048-4A26-B07C-DB16093631CE}" srcOrd="0" destOrd="0" presId="urn:microsoft.com/office/officeart/2005/8/layout/funnel1"/>
    <dgm:cxn modelId="{CC00291F-5087-43FE-87C4-27D9CFA145B4}" type="presOf" srcId="{29CD868F-8484-439E-9799-659A8A071428}" destId="{CE42FD63-E09A-405B-AC36-EB1A13ED6251}" srcOrd="0" destOrd="0" presId="urn:microsoft.com/office/officeart/2005/8/layout/funnel1"/>
    <dgm:cxn modelId="{E0FC6D33-CA77-4AF0-8E0C-F0ACC00F6365}" type="presOf" srcId="{84474D26-418E-4E9B-8B13-9CCDBCA0C47B}" destId="{FE195102-5629-4AD0-BB1A-8EAA81398B78}" srcOrd="0" destOrd="0" presId="urn:microsoft.com/office/officeart/2005/8/layout/funnel1"/>
    <dgm:cxn modelId="{19856629-F8D4-4561-A47E-32B949083EEE}" type="presParOf" srcId="{FE195102-5629-4AD0-BB1A-8EAA81398B78}" destId="{CF7013FA-A148-4D19-BE1B-2F2F88FA54F9}" srcOrd="0" destOrd="0" presId="urn:microsoft.com/office/officeart/2005/8/layout/funnel1"/>
    <dgm:cxn modelId="{3A9EAE7F-88B7-413F-92EB-83AB20F3D545}" type="presParOf" srcId="{FE195102-5629-4AD0-BB1A-8EAA81398B78}" destId="{61C3E120-4AC8-4566-9207-6930DBF02D61}" srcOrd="1" destOrd="0" presId="urn:microsoft.com/office/officeart/2005/8/layout/funnel1"/>
    <dgm:cxn modelId="{FEFEB7C5-E9F8-497E-B12E-1AD2F4B8B936}" type="presParOf" srcId="{FE195102-5629-4AD0-BB1A-8EAA81398B78}" destId="{CE42FD63-E09A-405B-AC36-EB1A13ED6251}" srcOrd="2" destOrd="0" presId="urn:microsoft.com/office/officeart/2005/8/layout/funnel1"/>
    <dgm:cxn modelId="{ACAA7BDB-DB01-46EF-9A77-8BA215FDF091}" type="presParOf" srcId="{FE195102-5629-4AD0-BB1A-8EAA81398B78}" destId="{C3401FEF-B925-4B04-946A-EC27F499006B}" srcOrd="3" destOrd="0" presId="urn:microsoft.com/office/officeart/2005/8/layout/funnel1"/>
    <dgm:cxn modelId="{79937013-12DE-4E8E-917C-1D8E8829491D}" type="presParOf" srcId="{FE195102-5629-4AD0-BB1A-8EAA81398B78}" destId="{F09A4015-4ADF-4A9E-9976-4F757DB6458A}" srcOrd="4" destOrd="0" presId="urn:microsoft.com/office/officeart/2005/8/layout/funnel1"/>
    <dgm:cxn modelId="{B7432804-9796-47DE-97C1-AA97DB6A7254}" type="presParOf" srcId="{FE195102-5629-4AD0-BB1A-8EAA81398B78}" destId="{F7BC115F-0048-4A26-B07C-DB16093631CE}" srcOrd="5" destOrd="0" presId="urn:microsoft.com/office/officeart/2005/8/layout/funnel1"/>
    <dgm:cxn modelId="{6D0FBCE8-8C3D-4D27-9A02-521A75F4A7DF}" type="presParOf" srcId="{FE195102-5629-4AD0-BB1A-8EAA81398B78}" destId="{A9E41946-ED5F-44EC-B9FD-926734FD52E7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D798BCD-6CE2-4C6C-81CF-8BAB0A2523DD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fr-FR"/>
        </a:p>
      </dgm:t>
    </dgm:pt>
    <dgm:pt modelId="{959BF2EC-4A57-40DE-9854-D34FD0F93361}">
      <dgm:prSet phldrT="[Texte]"/>
      <dgm:spPr/>
      <dgm:t>
        <a:bodyPr/>
        <a:lstStyle/>
        <a:p>
          <a:r>
            <a:rPr lang="fr-FR" b="1" dirty="0" smtClean="0"/>
            <a:t>Conception</a:t>
          </a:r>
          <a:endParaRPr lang="fr-FR" b="1" dirty="0"/>
        </a:p>
      </dgm:t>
    </dgm:pt>
    <dgm:pt modelId="{C094EC4E-FFBD-4A94-BD38-91EF0EAFC242}" type="parTrans" cxnId="{5B2E6C86-510A-444D-B594-8F69AAC93976}">
      <dgm:prSet/>
      <dgm:spPr/>
      <dgm:t>
        <a:bodyPr/>
        <a:lstStyle/>
        <a:p>
          <a:endParaRPr lang="fr-FR"/>
        </a:p>
      </dgm:t>
    </dgm:pt>
    <dgm:pt modelId="{7F64F4E8-4873-4DE5-A9D4-59E62465659F}" type="sibTrans" cxnId="{5B2E6C86-510A-444D-B594-8F69AAC93976}">
      <dgm:prSet/>
      <dgm:spPr/>
      <dgm:t>
        <a:bodyPr/>
        <a:lstStyle/>
        <a:p>
          <a:endParaRPr lang="fr-FR"/>
        </a:p>
      </dgm:t>
    </dgm:pt>
    <dgm:pt modelId="{6AEAB393-2F94-42A5-9BBF-22AD1E840D91}">
      <dgm:prSet phldrT="[Texte]"/>
      <dgm:spPr/>
      <dgm:t>
        <a:bodyPr/>
        <a:lstStyle/>
        <a:p>
          <a:r>
            <a:rPr lang="fr-FR" b="1" dirty="0" err="1" smtClean="0"/>
            <a:t>CoTec</a:t>
          </a:r>
          <a:endParaRPr lang="fr-FR" b="1" dirty="0"/>
        </a:p>
      </dgm:t>
    </dgm:pt>
    <dgm:pt modelId="{61954E5E-BA97-46BA-A96F-381A2330CFC9}" type="parTrans" cxnId="{9C2B31E8-04A7-4C77-BDBB-C17694041938}">
      <dgm:prSet/>
      <dgm:spPr/>
      <dgm:t>
        <a:bodyPr/>
        <a:lstStyle/>
        <a:p>
          <a:endParaRPr lang="fr-FR"/>
        </a:p>
      </dgm:t>
    </dgm:pt>
    <dgm:pt modelId="{2ACF16FA-1982-4EDC-9DDB-EAB782574890}" type="sibTrans" cxnId="{9C2B31E8-04A7-4C77-BDBB-C17694041938}">
      <dgm:prSet/>
      <dgm:spPr/>
      <dgm:t>
        <a:bodyPr/>
        <a:lstStyle/>
        <a:p>
          <a:endParaRPr lang="fr-FR"/>
        </a:p>
      </dgm:t>
    </dgm:pt>
    <dgm:pt modelId="{84342564-C746-4B5D-A1EF-E42EF79C9D4A}">
      <dgm:prSet phldrT="[Texte]"/>
      <dgm:spPr/>
      <dgm:t>
        <a:bodyPr/>
        <a:lstStyle/>
        <a:p>
          <a:r>
            <a:rPr lang="fr-FR" b="1" dirty="0" err="1" smtClean="0"/>
            <a:t>DocT</a:t>
          </a:r>
          <a:r>
            <a:rPr lang="fr-FR" b="1" dirty="0" smtClean="0"/>
            <a:t> </a:t>
          </a:r>
          <a:r>
            <a:rPr lang="fr-FR" b="1" dirty="0" smtClean="0">
              <a:sym typeface="Wingdings" pitchFamily="2" charset="2"/>
            </a:rPr>
            <a:t> </a:t>
          </a:r>
          <a:r>
            <a:rPr lang="fr-FR" b="1" dirty="0" smtClean="0"/>
            <a:t>Code Source Java </a:t>
          </a:r>
          <a:endParaRPr lang="fr-FR" b="1" dirty="0"/>
        </a:p>
      </dgm:t>
    </dgm:pt>
    <dgm:pt modelId="{BCB95633-11D3-4184-8B00-DE105A416EB1}" type="parTrans" cxnId="{E4EE6CF0-A706-418E-B600-30FAB9DB8CC2}">
      <dgm:prSet/>
      <dgm:spPr/>
      <dgm:t>
        <a:bodyPr/>
        <a:lstStyle/>
        <a:p>
          <a:endParaRPr lang="fr-FR"/>
        </a:p>
      </dgm:t>
    </dgm:pt>
    <dgm:pt modelId="{667BB2F3-8ADF-488F-B11F-C7EC33A1B2DD}" type="sibTrans" cxnId="{E4EE6CF0-A706-418E-B600-30FAB9DB8CC2}">
      <dgm:prSet/>
      <dgm:spPr/>
      <dgm:t>
        <a:bodyPr/>
        <a:lstStyle/>
        <a:p>
          <a:endParaRPr lang="fr-FR"/>
        </a:p>
      </dgm:t>
    </dgm:pt>
    <dgm:pt modelId="{14C1D0F4-7632-4C5B-80F3-1E24D29E9F5E}" type="pres">
      <dgm:prSet presAssocID="{6D798BCD-6CE2-4C6C-81CF-8BAB0A2523D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7193D30-A86F-428E-B186-7F774C675315}" type="pres">
      <dgm:prSet presAssocID="{959BF2EC-4A57-40DE-9854-D34FD0F93361}" presName="parentText" presStyleLbl="node1" presStyleIdx="0" presStyleCnt="3" custScaleY="102500" custLinFactNeighborX="-80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835DBBA-F47D-4467-92CD-00AEE904557B}" type="pres">
      <dgm:prSet presAssocID="{7F64F4E8-4873-4DE5-A9D4-59E62465659F}" presName="spacer" presStyleCnt="0"/>
      <dgm:spPr/>
    </dgm:pt>
    <dgm:pt modelId="{1EBB08F3-201C-4862-960D-19A07B2FB714}" type="pres">
      <dgm:prSet presAssocID="{6AEAB393-2F94-42A5-9BBF-22AD1E840D91}" presName="parentText" presStyleLbl="node1" presStyleIdx="1" presStyleCnt="3" custLinFactNeighborY="2159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839B151-3322-4265-B889-7517A83C829C}" type="pres">
      <dgm:prSet presAssocID="{2ACF16FA-1982-4EDC-9DDB-EAB782574890}" presName="spacer" presStyleCnt="0"/>
      <dgm:spPr/>
    </dgm:pt>
    <dgm:pt modelId="{F44D5F85-C32B-40C1-80F6-450B3192A5F9}" type="pres">
      <dgm:prSet presAssocID="{84342564-C746-4B5D-A1EF-E42EF79C9D4A}" presName="parentText" presStyleLbl="node1" presStyleIdx="2" presStyleCnt="3" custLinFactNeighborY="4752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4EE6CF0-A706-418E-B600-30FAB9DB8CC2}" srcId="{6D798BCD-6CE2-4C6C-81CF-8BAB0A2523DD}" destId="{84342564-C746-4B5D-A1EF-E42EF79C9D4A}" srcOrd="2" destOrd="0" parTransId="{BCB95633-11D3-4184-8B00-DE105A416EB1}" sibTransId="{667BB2F3-8ADF-488F-B11F-C7EC33A1B2DD}"/>
    <dgm:cxn modelId="{B75E22C4-9058-41FA-A3D6-A03FBE3DFBC1}" type="presOf" srcId="{6AEAB393-2F94-42A5-9BBF-22AD1E840D91}" destId="{1EBB08F3-201C-4862-960D-19A07B2FB714}" srcOrd="0" destOrd="0" presId="urn:microsoft.com/office/officeart/2005/8/layout/vList2"/>
    <dgm:cxn modelId="{9C2B31E8-04A7-4C77-BDBB-C17694041938}" srcId="{6D798BCD-6CE2-4C6C-81CF-8BAB0A2523DD}" destId="{6AEAB393-2F94-42A5-9BBF-22AD1E840D91}" srcOrd="1" destOrd="0" parTransId="{61954E5E-BA97-46BA-A96F-381A2330CFC9}" sibTransId="{2ACF16FA-1982-4EDC-9DDB-EAB782574890}"/>
    <dgm:cxn modelId="{5B2E6C86-510A-444D-B594-8F69AAC93976}" srcId="{6D798BCD-6CE2-4C6C-81CF-8BAB0A2523DD}" destId="{959BF2EC-4A57-40DE-9854-D34FD0F93361}" srcOrd="0" destOrd="0" parTransId="{C094EC4E-FFBD-4A94-BD38-91EF0EAFC242}" sibTransId="{7F64F4E8-4873-4DE5-A9D4-59E62465659F}"/>
    <dgm:cxn modelId="{C9EC7EF6-12FD-4FCB-A56C-1D60385198E6}" type="presOf" srcId="{6D798BCD-6CE2-4C6C-81CF-8BAB0A2523DD}" destId="{14C1D0F4-7632-4C5B-80F3-1E24D29E9F5E}" srcOrd="0" destOrd="0" presId="urn:microsoft.com/office/officeart/2005/8/layout/vList2"/>
    <dgm:cxn modelId="{8347BC31-F406-48CA-8BE1-4C5592521A98}" type="presOf" srcId="{84342564-C746-4B5D-A1EF-E42EF79C9D4A}" destId="{F44D5F85-C32B-40C1-80F6-450B3192A5F9}" srcOrd="0" destOrd="0" presId="urn:microsoft.com/office/officeart/2005/8/layout/vList2"/>
    <dgm:cxn modelId="{73AB3544-65C5-4EAB-9520-6B60A150F43A}" type="presOf" srcId="{959BF2EC-4A57-40DE-9854-D34FD0F93361}" destId="{77193D30-A86F-428E-B186-7F774C675315}" srcOrd="0" destOrd="0" presId="urn:microsoft.com/office/officeart/2005/8/layout/vList2"/>
    <dgm:cxn modelId="{3BE2FCBE-63C1-4C59-866D-63485396FF50}" type="presParOf" srcId="{14C1D0F4-7632-4C5B-80F3-1E24D29E9F5E}" destId="{77193D30-A86F-428E-B186-7F774C675315}" srcOrd="0" destOrd="0" presId="urn:microsoft.com/office/officeart/2005/8/layout/vList2"/>
    <dgm:cxn modelId="{206A12C7-6F0B-4D3F-B816-41474A4B7E61}" type="presParOf" srcId="{14C1D0F4-7632-4C5B-80F3-1E24D29E9F5E}" destId="{4835DBBA-F47D-4467-92CD-00AEE904557B}" srcOrd="1" destOrd="0" presId="urn:microsoft.com/office/officeart/2005/8/layout/vList2"/>
    <dgm:cxn modelId="{3A2FAF69-2B16-40C8-ADFB-62AE4FD59486}" type="presParOf" srcId="{14C1D0F4-7632-4C5B-80F3-1E24D29E9F5E}" destId="{1EBB08F3-201C-4862-960D-19A07B2FB714}" srcOrd="2" destOrd="0" presId="urn:microsoft.com/office/officeart/2005/8/layout/vList2"/>
    <dgm:cxn modelId="{FA1FFA21-FF83-4F20-9BB3-94528F56E0DC}" type="presParOf" srcId="{14C1D0F4-7632-4C5B-80F3-1E24D29E9F5E}" destId="{8839B151-3322-4265-B889-7517A83C829C}" srcOrd="3" destOrd="0" presId="urn:microsoft.com/office/officeart/2005/8/layout/vList2"/>
    <dgm:cxn modelId="{4A819DB0-D65D-450F-B15A-52BF628C8449}" type="presParOf" srcId="{14C1D0F4-7632-4C5B-80F3-1E24D29E9F5E}" destId="{F44D5F85-C32B-40C1-80F6-450B3192A5F9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D798BCD-6CE2-4C6C-81CF-8BAB0A2523DD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fr-FR"/>
        </a:p>
      </dgm:t>
    </dgm:pt>
    <dgm:pt modelId="{959BF2EC-4A57-40DE-9854-D34FD0F93361}">
      <dgm:prSet phldrT="[Texte]"/>
      <dgm:spPr/>
      <dgm:t>
        <a:bodyPr/>
        <a:lstStyle/>
        <a:p>
          <a:r>
            <a:rPr lang="fr-FR" b="1" dirty="0" err="1" smtClean="0"/>
            <a:t>Référenciel</a:t>
          </a:r>
          <a:r>
            <a:rPr lang="fr-FR" b="1" dirty="0" smtClean="0"/>
            <a:t> qualité</a:t>
          </a:r>
          <a:endParaRPr lang="fr-FR" b="1" dirty="0"/>
        </a:p>
      </dgm:t>
    </dgm:pt>
    <dgm:pt modelId="{C094EC4E-FFBD-4A94-BD38-91EF0EAFC242}" type="parTrans" cxnId="{5B2E6C86-510A-444D-B594-8F69AAC93976}">
      <dgm:prSet/>
      <dgm:spPr/>
      <dgm:t>
        <a:bodyPr/>
        <a:lstStyle/>
        <a:p>
          <a:endParaRPr lang="fr-FR"/>
        </a:p>
      </dgm:t>
    </dgm:pt>
    <dgm:pt modelId="{7F64F4E8-4873-4DE5-A9D4-59E62465659F}" type="sibTrans" cxnId="{5B2E6C86-510A-444D-B594-8F69AAC93976}">
      <dgm:prSet/>
      <dgm:spPr/>
      <dgm:t>
        <a:bodyPr/>
        <a:lstStyle/>
        <a:p>
          <a:endParaRPr lang="fr-FR"/>
        </a:p>
      </dgm:t>
    </dgm:pt>
    <dgm:pt modelId="{14C1D0F4-7632-4C5B-80F3-1E24D29E9F5E}" type="pres">
      <dgm:prSet presAssocID="{6D798BCD-6CE2-4C6C-81CF-8BAB0A2523D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7193D30-A86F-428E-B186-7F774C675315}" type="pres">
      <dgm:prSet presAssocID="{959BF2EC-4A57-40DE-9854-D34FD0F93361}" presName="parentText" presStyleLbl="node1" presStyleIdx="0" presStyleCnt="1" custScaleY="42599" custLinFactNeighborX="-80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5B2E6C86-510A-444D-B594-8F69AAC93976}" srcId="{6D798BCD-6CE2-4C6C-81CF-8BAB0A2523DD}" destId="{959BF2EC-4A57-40DE-9854-D34FD0F93361}" srcOrd="0" destOrd="0" parTransId="{C094EC4E-FFBD-4A94-BD38-91EF0EAFC242}" sibTransId="{7F64F4E8-4873-4DE5-A9D4-59E62465659F}"/>
    <dgm:cxn modelId="{29CF92D7-9A57-4DB4-A54A-E2962422B16F}" type="presOf" srcId="{959BF2EC-4A57-40DE-9854-D34FD0F93361}" destId="{77193D30-A86F-428E-B186-7F774C675315}" srcOrd="0" destOrd="0" presId="urn:microsoft.com/office/officeart/2005/8/layout/vList2"/>
    <dgm:cxn modelId="{6DE108E1-1334-4697-957F-ACDEA9FFB99B}" type="presOf" srcId="{6D798BCD-6CE2-4C6C-81CF-8BAB0A2523DD}" destId="{14C1D0F4-7632-4C5B-80F3-1E24D29E9F5E}" srcOrd="0" destOrd="0" presId="urn:microsoft.com/office/officeart/2005/8/layout/vList2"/>
    <dgm:cxn modelId="{82BDE2A8-3DFD-4F5D-B73D-B88CECF39F8D}" type="presParOf" srcId="{14C1D0F4-7632-4C5B-80F3-1E24D29E9F5E}" destId="{77193D30-A86F-428E-B186-7F774C67531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D798BCD-6CE2-4C6C-81CF-8BAB0A2523DD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fr-FR"/>
        </a:p>
      </dgm:t>
    </dgm:pt>
    <dgm:pt modelId="{959BF2EC-4A57-40DE-9854-D34FD0F93361}">
      <dgm:prSet phldrT="[Texte]"/>
      <dgm:spPr/>
      <dgm:t>
        <a:bodyPr/>
        <a:lstStyle/>
        <a:p>
          <a:r>
            <a:rPr lang="fr-FR" b="1" dirty="0" smtClean="0"/>
            <a:t>Outils contrôle qualité	</a:t>
          </a:r>
          <a:endParaRPr lang="fr-FR" b="1" dirty="0"/>
        </a:p>
      </dgm:t>
    </dgm:pt>
    <dgm:pt modelId="{C094EC4E-FFBD-4A94-BD38-91EF0EAFC242}" type="parTrans" cxnId="{5B2E6C86-510A-444D-B594-8F69AAC93976}">
      <dgm:prSet/>
      <dgm:spPr/>
      <dgm:t>
        <a:bodyPr/>
        <a:lstStyle/>
        <a:p>
          <a:endParaRPr lang="fr-FR"/>
        </a:p>
      </dgm:t>
    </dgm:pt>
    <dgm:pt modelId="{7F64F4E8-4873-4DE5-A9D4-59E62465659F}" type="sibTrans" cxnId="{5B2E6C86-510A-444D-B594-8F69AAC93976}">
      <dgm:prSet/>
      <dgm:spPr/>
      <dgm:t>
        <a:bodyPr/>
        <a:lstStyle/>
        <a:p>
          <a:endParaRPr lang="fr-FR"/>
        </a:p>
      </dgm:t>
    </dgm:pt>
    <dgm:pt modelId="{6AEAB393-2F94-42A5-9BBF-22AD1E840D91}">
      <dgm:prSet phldrT="[Texte]"/>
      <dgm:spPr/>
      <dgm:t>
        <a:bodyPr/>
        <a:lstStyle/>
        <a:p>
          <a:r>
            <a:rPr lang="fr-FR" b="1" dirty="0" smtClean="0"/>
            <a:t>Gestion Electronique des Documents</a:t>
          </a:r>
          <a:endParaRPr lang="fr-FR" b="1" dirty="0"/>
        </a:p>
      </dgm:t>
    </dgm:pt>
    <dgm:pt modelId="{61954E5E-BA97-46BA-A96F-381A2330CFC9}" type="parTrans" cxnId="{9C2B31E8-04A7-4C77-BDBB-C17694041938}">
      <dgm:prSet/>
      <dgm:spPr/>
      <dgm:t>
        <a:bodyPr/>
        <a:lstStyle/>
        <a:p>
          <a:endParaRPr lang="fr-FR"/>
        </a:p>
      </dgm:t>
    </dgm:pt>
    <dgm:pt modelId="{2ACF16FA-1982-4EDC-9DDB-EAB782574890}" type="sibTrans" cxnId="{9C2B31E8-04A7-4C77-BDBB-C17694041938}">
      <dgm:prSet/>
      <dgm:spPr/>
      <dgm:t>
        <a:bodyPr/>
        <a:lstStyle/>
        <a:p>
          <a:endParaRPr lang="fr-FR"/>
        </a:p>
      </dgm:t>
    </dgm:pt>
    <dgm:pt modelId="{14C1D0F4-7632-4C5B-80F3-1E24D29E9F5E}" type="pres">
      <dgm:prSet presAssocID="{6D798BCD-6CE2-4C6C-81CF-8BAB0A2523D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7193D30-A86F-428E-B186-7F774C675315}" type="pres">
      <dgm:prSet presAssocID="{959BF2EC-4A57-40DE-9854-D34FD0F93361}" presName="parentText" presStyleLbl="node1" presStyleIdx="0" presStyleCnt="2" custScaleY="102500" custLinFactNeighborX="-80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835DBBA-F47D-4467-92CD-00AEE904557B}" type="pres">
      <dgm:prSet presAssocID="{7F64F4E8-4873-4DE5-A9D4-59E62465659F}" presName="spacer" presStyleCnt="0"/>
      <dgm:spPr/>
    </dgm:pt>
    <dgm:pt modelId="{1EBB08F3-201C-4862-960D-19A07B2FB714}" type="pres">
      <dgm:prSet presAssocID="{6AEAB393-2F94-42A5-9BBF-22AD1E840D91}" presName="parentText" presStyleLbl="node1" presStyleIdx="1" presStyleCnt="2" custLinFactNeighborY="2159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5B2E6C86-510A-444D-B594-8F69AAC93976}" srcId="{6D798BCD-6CE2-4C6C-81CF-8BAB0A2523DD}" destId="{959BF2EC-4A57-40DE-9854-D34FD0F93361}" srcOrd="0" destOrd="0" parTransId="{C094EC4E-FFBD-4A94-BD38-91EF0EAFC242}" sibTransId="{7F64F4E8-4873-4DE5-A9D4-59E62465659F}"/>
    <dgm:cxn modelId="{F692160C-3510-4B73-905E-6CCBA7544D6E}" type="presOf" srcId="{6AEAB393-2F94-42A5-9BBF-22AD1E840D91}" destId="{1EBB08F3-201C-4862-960D-19A07B2FB714}" srcOrd="0" destOrd="0" presId="urn:microsoft.com/office/officeart/2005/8/layout/vList2"/>
    <dgm:cxn modelId="{17B45B1F-0B59-49B1-BBFD-B37D0CC0C7DD}" type="presOf" srcId="{959BF2EC-4A57-40DE-9854-D34FD0F93361}" destId="{77193D30-A86F-428E-B186-7F774C675315}" srcOrd="0" destOrd="0" presId="urn:microsoft.com/office/officeart/2005/8/layout/vList2"/>
    <dgm:cxn modelId="{BDDFC7E7-42FC-4679-95BE-37704EEC58E9}" type="presOf" srcId="{6D798BCD-6CE2-4C6C-81CF-8BAB0A2523DD}" destId="{14C1D0F4-7632-4C5B-80F3-1E24D29E9F5E}" srcOrd="0" destOrd="0" presId="urn:microsoft.com/office/officeart/2005/8/layout/vList2"/>
    <dgm:cxn modelId="{9C2B31E8-04A7-4C77-BDBB-C17694041938}" srcId="{6D798BCD-6CE2-4C6C-81CF-8BAB0A2523DD}" destId="{6AEAB393-2F94-42A5-9BBF-22AD1E840D91}" srcOrd="1" destOrd="0" parTransId="{61954E5E-BA97-46BA-A96F-381A2330CFC9}" sibTransId="{2ACF16FA-1982-4EDC-9DDB-EAB782574890}"/>
    <dgm:cxn modelId="{A8A32B4D-0DC1-41AD-9463-64C58C5A4B7F}" type="presParOf" srcId="{14C1D0F4-7632-4C5B-80F3-1E24D29E9F5E}" destId="{77193D30-A86F-428E-B186-7F774C675315}" srcOrd="0" destOrd="0" presId="urn:microsoft.com/office/officeart/2005/8/layout/vList2"/>
    <dgm:cxn modelId="{0A3F9D83-76CB-48D5-AE46-F2B83D86EC11}" type="presParOf" srcId="{14C1D0F4-7632-4C5B-80F3-1E24D29E9F5E}" destId="{4835DBBA-F47D-4467-92CD-00AEE904557B}" srcOrd="1" destOrd="0" presId="urn:microsoft.com/office/officeart/2005/8/layout/vList2"/>
    <dgm:cxn modelId="{6ACD1FA9-29E1-4536-8F91-A2B83DFAAB73}" type="presParOf" srcId="{14C1D0F4-7632-4C5B-80F3-1E24D29E9F5E}" destId="{1EBB08F3-201C-4862-960D-19A07B2FB714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8AB33B4-7907-46DC-A2FD-24D9B83FED2F}" type="doc">
      <dgm:prSet loTypeId="urn:microsoft.com/office/officeart/2005/8/layout/hierarchy2" loCatId="hierarchy" qsTypeId="urn:microsoft.com/office/officeart/2005/8/quickstyle/simple3" qsCatId="simple" csTypeId="urn:microsoft.com/office/officeart/2005/8/colors/accent5_4" csCatId="accent5" phldr="1"/>
      <dgm:spPr/>
      <dgm:t>
        <a:bodyPr/>
        <a:lstStyle/>
        <a:p>
          <a:endParaRPr lang="fr-FR"/>
        </a:p>
      </dgm:t>
    </dgm:pt>
    <dgm:pt modelId="{A0220CEB-F54F-4DBC-BB9B-8FBFBB68C335}">
      <dgm:prSet phldrT="[Texte]"/>
      <dgm:spPr/>
      <dgm:t>
        <a:bodyPr/>
        <a:lstStyle/>
        <a:p>
          <a:r>
            <a:rPr lang="fr-FR" dirty="0" smtClean="0"/>
            <a:t>Batch </a:t>
          </a:r>
          <a:endParaRPr lang="fr-FR" dirty="0"/>
        </a:p>
      </dgm:t>
    </dgm:pt>
    <dgm:pt modelId="{34B34C53-B6C1-4072-A1ED-F4E0FB97D2D5}" type="parTrans" cxnId="{33346F2B-A165-44E2-8ED5-422B83C11FD4}">
      <dgm:prSet/>
      <dgm:spPr/>
      <dgm:t>
        <a:bodyPr/>
        <a:lstStyle/>
        <a:p>
          <a:endParaRPr lang="fr-FR"/>
        </a:p>
      </dgm:t>
    </dgm:pt>
    <dgm:pt modelId="{E59660BF-59F8-44F1-90BC-7056E10E6765}" type="sibTrans" cxnId="{33346F2B-A165-44E2-8ED5-422B83C11FD4}">
      <dgm:prSet/>
      <dgm:spPr/>
      <dgm:t>
        <a:bodyPr/>
        <a:lstStyle/>
        <a:p>
          <a:endParaRPr lang="fr-FR"/>
        </a:p>
      </dgm:t>
    </dgm:pt>
    <dgm:pt modelId="{2ABA1A0A-9DEF-4775-9F86-2543903CE773}">
      <dgm:prSet/>
      <dgm:spPr/>
      <dgm:t>
        <a:bodyPr/>
        <a:lstStyle/>
        <a:p>
          <a:r>
            <a:rPr lang="fr-FR" dirty="0" smtClean="0"/>
            <a:t>IHM </a:t>
          </a:r>
          <a:endParaRPr lang="fr-FR" dirty="0"/>
        </a:p>
      </dgm:t>
    </dgm:pt>
    <dgm:pt modelId="{F388AB1A-1A13-4034-B261-47808F276887}" type="parTrans" cxnId="{2974C088-190F-4A6F-B8B3-BB743F080EFD}">
      <dgm:prSet/>
      <dgm:spPr/>
      <dgm:t>
        <a:bodyPr/>
        <a:lstStyle/>
        <a:p>
          <a:endParaRPr lang="fr-FR"/>
        </a:p>
      </dgm:t>
    </dgm:pt>
    <dgm:pt modelId="{0817F91F-517D-4C99-873E-827887E1BA74}" type="sibTrans" cxnId="{2974C088-190F-4A6F-B8B3-BB743F080EFD}">
      <dgm:prSet/>
      <dgm:spPr/>
      <dgm:t>
        <a:bodyPr/>
        <a:lstStyle/>
        <a:p>
          <a:endParaRPr lang="fr-FR"/>
        </a:p>
      </dgm:t>
    </dgm:pt>
    <dgm:pt modelId="{BDD3F110-F1E5-4FFF-82EF-E1006D8ED397}">
      <dgm:prSet/>
      <dgm:spPr/>
      <dgm:t>
        <a:bodyPr/>
        <a:lstStyle/>
        <a:p>
          <a:r>
            <a:rPr lang="fr-FR" dirty="0" smtClean="0"/>
            <a:t>Service</a:t>
          </a:r>
          <a:endParaRPr lang="fr-FR" dirty="0"/>
        </a:p>
      </dgm:t>
    </dgm:pt>
    <dgm:pt modelId="{0C204D1C-FD1A-4AAF-B275-B4092D9E6589}" type="parTrans" cxnId="{C0B9E9F3-916B-4493-A27A-12B34CFD3461}">
      <dgm:prSet/>
      <dgm:spPr/>
      <dgm:t>
        <a:bodyPr/>
        <a:lstStyle/>
        <a:p>
          <a:endParaRPr lang="fr-FR"/>
        </a:p>
      </dgm:t>
    </dgm:pt>
    <dgm:pt modelId="{194F6F5F-F9E4-4590-8B24-1CF42B8A67F4}" type="sibTrans" cxnId="{C0B9E9F3-916B-4493-A27A-12B34CFD3461}">
      <dgm:prSet/>
      <dgm:spPr/>
      <dgm:t>
        <a:bodyPr/>
        <a:lstStyle/>
        <a:p>
          <a:endParaRPr lang="fr-FR"/>
        </a:p>
      </dgm:t>
    </dgm:pt>
    <dgm:pt modelId="{3E0933CC-98A0-4216-B3AE-E009A6F14EA2}">
      <dgm:prSet/>
      <dgm:spPr/>
      <dgm:t>
        <a:bodyPr/>
        <a:lstStyle/>
        <a:p>
          <a:r>
            <a:rPr lang="fr-FR" dirty="0" smtClean="0"/>
            <a:t>Valorisation</a:t>
          </a:r>
          <a:endParaRPr lang="fr-FR" dirty="0"/>
        </a:p>
      </dgm:t>
    </dgm:pt>
    <dgm:pt modelId="{DDECDC5E-C942-4C25-B122-9780F2CBF279}" type="parTrans" cxnId="{D074064B-B09B-4786-A801-9D9BD3C02707}">
      <dgm:prSet>
        <dgm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fr-FR"/>
        </a:p>
      </dgm:t>
    </dgm:pt>
    <dgm:pt modelId="{6243C941-B84F-4A6A-8015-EF0DD6E24D38}" type="sibTrans" cxnId="{D074064B-B09B-4786-A801-9D9BD3C02707}">
      <dgm:prSet/>
      <dgm:spPr/>
      <dgm:t>
        <a:bodyPr/>
        <a:lstStyle/>
        <a:p>
          <a:endParaRPr lang="fr-FR"/>
        </a:p>
      </dgm:t>
    </dgm:pt>
    <dgm:pt modelId="{22E9B360-801F-46DB-AD4F-10EC8698575D}">
      <dgm:prSet/>
      <dgm:spPr/>
      <dgm:t>
        <a:bodyPr/>
        <a:lstStyle/>
        <a:p>
          <a:r>
            <a:rPr lang="fr-FR" dirty="0" smtClean="0"/>
            <a:t>Dispatcher</a:t>
          </a:r>
          <a:endParaRPr lang="fr-FR" dirty="0"/>
        </a:p>
      </dgm:t>
    </dgm:pt>
    <dgm:pt modelId="{6BA3BE7E-BDD3-44CF-BBE0-6C740B21BF53}" type="parTrans" cxnId="{249D61F4-D17E-49F8-A5FA-C399635D0F4F}">
      <dgm:prSet>
        <dgm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fr-FR"/>
        </a:p>
      </dgm:t>
    </dgm:pt>
    <dgm:pt modelId="{00C4FE06-F450-41DF-8CAE-3B62BD3F4417}" type="sibTrans" cxnId="{249D61F4-D17E-49F8-A5FA-C399635D0F4F}">
      <dgm:prSet/>
      <dgm:spPr/>
      <dgm:t>
        <a:bodyPr/>
        <a:lstStyle/>
        <a:p>
          <a:endParaRPr lang="fr-FR"/>
        </a:p>
      </dgm:t>
    </dgm:pt>
    <dgm:pt modelId="{CD8F5799-A5B6-4687-B5AA-F8DC09C60404}">
      <dgm:prSet/>
      <dgm:spPr/>
      <dgm:t>
        <a:bodyPr/>
        <a:lstStyle/>
        <a:p>
          <a:r>
            <a:rPr lang="fr-FR" dirty="0" smtClean="0"/>
            <a:t>Fourniture </a:t>
          </a:r>
          <a:endParaRPr lang="fr-FR" dirty="0"/>
        </a:p>
      </dgm:t>
    </dgm:pt>
    <dgm:pt modelId="{DA71DBD6-2E17-48AD-9CB2-AFA70512E2CA}" type="parTrans" cxnId="{D50CE7E3-6A2E-4628-B04C-B52C8615F577}">
      <dgm:prSet>
        <dgm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fr-FR"/>
        </a:p>
      </dgm:t>
    </dgm:pt>
    <dgm:pt modelId="{DBECEAFA-09F8-4B9A-8720-CCEFCAA19A95}" type="sibTrans" cxnId="{D50CE7E3-6A2E-4628-B04C-B52C8615F577}">
      <dgm:prSet/>
      <dgm:spPr/>
      <dgm:t>
        <a:bodyPr/>
        <a:lstStyle/>
        <a:p>
          <a:endParaRPr lang="fr-FR"/>
        </a:p>
      </dgm:t>
    </dgm:pt>
    <dgm:pt modelId="{FC11033F-66D8-4149-ADE0-47EC0424A65F}">
      <dgm:prSet/>
      <dgm:spPr/>
      <dgm:t>
        <a:bodyPr/>
        <a:lstStyle/>
        <a:p>
          <a:r>
            <a:rPr lang="fr-FR" dirty="0" smtClean="0"/>
            <a:t>Notification</a:t>
          </a:r>
          <a:endParaRPr lang="fr-FR" dirty="0"/>
        </a:p>
      </dgm:t>
    </dgm:pt>
    <dgm:pt modelId="{8552E792-439B-4445-9293-D23C98567B0B}" type="parTrans" cxnId="{0BCA8A2B-2654-4425-994C-4743EB554F89}">
      <dgm:prSet>
        <dgm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fr-FR"/>
        </a:p>
      </dgm:t>
    </dgm:pt>
    <dgm:pt modelId="{BA69A07D-3B36-4678-9BFB-8B911F3CCF3E}" type="sibTrans" cxnId="{0BCA8A2B-2654-4425-994C-4743EB554F89}">
      <dgm:prSet/>
      <dgm:spPr/>
      <dgm:t>
        <a:bodyPr/>
        <a:lstStyle/>
        <a:p>
          <a:endParaRPr lang="fr-FR"/>
        </a:p>
      </dgm:t>
    </dgm:pt>
    <dgm:pt modelId="{01EE12EF-F002-4D9E-8D24-DECDC6784FE1}">
      <dgm:prSet/>
      <dgm:spPr/>
      <dgm:t>
        <a:bodyPr/>
        <a:lstStyle/>
        <a:p>
          <a:r>
            <a:rPr lang="fr-FR" dirty="0" smtClean="0"/>
            <a:t>SAP</a:t>
          </a:r>
          <a:endParaRPr lang="fr-FR" dirty="0"/>
        </a:p>
      </dgm:t>
    </dgm:pt>
    <dgm:pt modelId="{5B20CF2A-B568-4BBD-BC11-6D6FACC8BE95}" type="parTrans" cxnId="{943465C4-73F4-45E8-8579-F05A002CAAA1}">
      <dgm:prSet>
        <dgm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fr-FR"/>
        </a:p>
      </dgm:t>
    </dgm:pt>
    <dgm:pt modelId="{30C11A0E-F0AE-49ED-88E4-C77702A0FA01}" type="sibTrans" cxnId="{943465C4-73F4-45E8-8579-F05A002CAAA1}">
      <dgm:prSet/>
      <dgm:spPr/>
      <dgm:t>
        <a:bodyPr/>
        <a:lstStyle/>
        <a:p>
          <a:endParaRPr lang="fr-FR"/>
        </a:p>
      </dgm:t>
    </dgm:pt>
    <dgm:pt modelId="{398F0DF9-F5F8-4F44-89B8-C641BEFEE206}">
      <dgm:prSet/>
      <dgm:spPr/>
      <dgm:t>
        <a:bodyPr/>
        <a:lstStyle/>
        <a:p>
          <a:r>
            <a:rPr lang="fr-FR" dirty="0" smtClean="0"/>
            <a:t>Configuration</a:t>
          </a:r>
          <a:endParaRPr lang="fr-FR" dirty="0"/>
        </a:p>
      </dgm:t>
    </dgm:pt>
    <dgm:pt modelId="{14600D06-8236-425D-B33C-E1736C729D60}" type="parTrans" cxnId="{1D64F4E6-66CB-43A8-8524-A925EDFB90E5}">
      <dgm:prSet/>
      <dgm:spPr/>
      <dgm:t>
        <a:bodyPr/>
        <a:lstStyle/>
        <a:p>
          <a:endParaRPr lang="fr-FR"/>
        </a:p>
      </dgm:t>
    </dgm:pt>
    <dgm:pt modelId="{EE365057-D40F-4670-83A4-EC66EABA1FAB}" type="sibTrans" cxnId="{1D64F4E6-66CB-43A8-8524-A925EDFB90E5}">
      <dgm:prSet/>
      <dgm:spPr/>
      <dgm:t>
        <a:bodyPr/>
        <a:lstStyle/>
        <a:p>
          <a:endParaRPr lang="fr-FR"/>
        </a:p>
      </dgm:t>
    </dgm:pt>
    <dgm:pt modelId="{7E91B9B7-5B00-4FFF-8C5D-5FCD366609BA}" type="pres">
      <dgm:prSet presAssocID="{68AB33B4-7907-46DC-A2FD-24D9B83FED2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10CBA4A2-C0EE-44BE-BB97-A18C13676B31}" type="pres">
      <dgm:prSet presAssocID="{A0220CEB-F54F-4DBC-BB9B-8FBFBB68C335}" presName="root1" presStyleCnt="0"/>
      <dgm:spPr/>
    </dgm:pt>
    <dgm:pt modelId="{2274ED47-976F-4CAE-BA93-8465DA052279}" type="pres">
      <dgm:prSet presAssocID="{A0220CEB-F54F-4DBC-BB9B-8FBFBB68C335}" presName="LevelOneTextNode" presStyleLbl="node0" presStyleIdx="0" presStyleCnt="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3C58932B-6EBA-4918-8786-BBE83CE81194}" type="pres">
      <dgm:prSet presAssocID="{A0220CEB-F54F-4DBC-BB9B-8FBFBB68C335}" presName="level2hierChild" presStyleCnt="0"/>
      <dgm:spPr/>
    </dgm:pt>
    <dgm:pt modelId="{1151D64B-E130-4DEE-B8DF-A6B849C0C77D}" type="pres">
      <dgm:prSet presAssocID="{2ABA1A0A-9DEF-4775-9F86-2543903CE773}" presName="root1" presStyleCnt="0"/>
      <dgm:spPr/>
    </dgm:pt>
    <dgm:pt modelId="{998CF0ED-649C-47F3-9927-A053A8C3D347}" type="pres">
      <dgm:prSet presAssocID="{2ABA1A0A-9DEF-4775-9F86-2543903CE773}" presName="LevelOneTextNode" presStyleLbl="node0" presStyleIdx="1" presStyleCnt="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A376AFB8-6BF1-4D19-BCCF-00C0F5ECB229}" type="pres">
      <dgm:prSet presAssocID="{2ABA1A0A-9DEF-4775-9F86-2543903CE773}" presName="level2hierChild" presStyleCnt="0"/>
      <dgm:spPr/>
    </dgm:pt>
    <dgm:pt modelId="{D86B8229-E829-4184-81CA-4F5C97A73C7A}" type="pres">
      <dgm:prSet presAssocID="{BDD3F110-F1E5-4FFF-82EF-E1006D8ED397}" presName="root1" presStyleCnt="0"/>
      <dgm:spPr/>
    </dgm:pt>
    <dgm:pt modelId="{B6953B44-1D31-4354-979A-D96AB9394413}" type="pres">
      <dgm:prSet presAssocID="{BDD3F110-F1E5-4FFF-82EF-E1006D8ED397}" presName="LevelOneTextNode" presStyleLbl="node0" presStyleIdx="2" presStyleCnt="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C4325668-E91B-4BB6-9242-9515225A1B7A}" type="pres">
      <dgm:prSet presAssocID="{BDD3F110-F1E5-4FFF-82EF-E1006D8ED397}" presName="level2hierChild" presStyleCnt="0"/>
      <dgm:spPr/>
    </dgm:pt>
    <dgm:pt modelId="{7DD97C5E-36EF-4727-88E7-00844D9386CA}" type="pres">
      <dgm:prSet presAssocID="{DDECDC5E-C942-4C25-B122-9780F2CBF279}" presName="conn2-1" presStyleLbl="parChTrans1D2" presStyleIdx="0" presStyleCnt="5"/>
      <dgm:spPr/>
      <dgm:t>
        <a:bodyPr/>
        <a:lstStyle/>
        <a:p>
          <a:endParaRPr lang="fr-FR"/>
        </a:p>
      </dgm:t>
    </dgm:pt>
    <dgm:pt modelId="{89F380CD-E902-43EE-9D4D-D8D59C59F992}" type="pres">
      <dgm:prSet presAssocID="{DDECDC5E-C942-4C25-B122-9780F2CBF279}" presName="connTx" presStyleLbl="parChTrans1D2" presStyleIdx="0" presStyleCnt="5"/>
      <dgm:spPr/>
      <dgm:t>
        <a:bodyPr/>
        <a:lstStyle/>
        <a:p>
          <a:endParaRPr lang="fr-FR"/>
        </a:p>
      </dgm:t>
    </dgm:pt>
    <dgm:pt modelId="{1505C68A-7A4C-40FC-BFF6-2E541C19661F}" type="pres">
      <dgm:prSet presAssocID="{3E0933CC-98A0-4216-B3AE-E009A6F14EA2}" presName="root2" presStyleCnt="0"/>
      <dgm:spPr/>
    </dgm:pt>
    <dgm:pt modelId="{66E71113-9C82-4376-84CC-1759C2D15286}" type="pres">
      <dgm:prSet presAssocID="{3E0933CC-98A0-4216-B3AE-E009A6F14EA2}" presName="LevelTwoTextNode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86197650-C942-4323-81FA-BE54B32E4C9A}" type="pres">
      <dgm:prSet presAssocID="{3E0933CC-98A0-4216-B3AE-E009A6F14EA2}" presName="level3hierChild" presStyleCnt="0"/>
      <dgm:spPr/>
    </dgm:pt>
    <dgm:pt modelId="{5AE4015D-877E-472F-9783-82E19B040C1B}" type="pres">
      <dgm:prSet presAssocID="{6BA3BE7E-BDD3-44CF-BBE0-6C740B21BF53}" presName="conn2-1" presStyleLbl="parChTrans1D2" presStyleIdx="1" presStyleCnt="5"/>
      <dgm:spPr/>
      <dgm:t>
        <a:bodyPr/>
        <a:lstStyle/>
        <a:p>
          <a:endParaRPr lang="fr-FR"/>
        </a:p>
      </dgm:t>
    </dgm:pt>
    <dgm:pt modelId="{59C0BC8B-18D0-4F58-BE0C-A8C392380E98}" type="pres">
      <dgm:prSet presAssocID="{6BA3BE7E-BDD3-44CF-BBE0-6C740B21BF53}" presName="connTx" presStyleLbl="parChTrans1D2" presStyleIdx="1" presStyleCnt="5"/>
      <dgm:spPr/>
      <dgm:t>
        <a:bodyPr/>
        <a:lstStyle/>
        <a:p>
          <a:endParaRPr lang="fr-FR"/>
        </a:p>
      </dgm:t>
    </dgm:pt>
    <dgm:pt modelId="{E173EB82-0127-4723-A38A-B32E6CD11D21}" type="pres">
      <dgm:prSet presAssocID="{22E9B360-801F-46DB-AD4F-10EC8698575D}" presName="root2" presStyleCnt="0"/>
      <dgm:spPr/>
    </dgm:pt>
    <dgm:pt modelId="{5AC6AF2C-E872-4132-82D8-CEFD3B5C760B}" type="pres">
      <dgm:prSet presAssocID="{22E9B360-801F-46DB-AD4F-10EC8698575D}" presName="LevelTwoTextNode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1503D0F4-289E-4CD9-9ED2-EDBAF8465F1A}" type="pres">
      <dgm:prSet presAssocID="{22E9B360-801F-46DB-AD4F-10EC8698575D}" presName="level3hierChild" presStyleCnt="0"/>
      <dgm:spPr/>
    </dgm:pt>
    <dgm:pt modelId="{3C9015F1-BF9C-4080-AEC6-56BDD76A5A49}" type="pres">
      <dgm:prSet presAssocID="{DA71DBD6-2E17-48AD-9CB2-AFA70512E2CA}" presName="conn2-1" presStyleLbl="parChTrans1D2" presStyleIdx="2" presStyleCnt="5"/>
      <dgm:spPr/>
      <dgm:t>
        <a:bodyPr/>
        <a:lstStyle/>
        <a:p>
          <a:endParaRPr lang="fr-FR"/>
        </a:p>
      </dgm:t>
    </dgm:pt>
    <dgm:pt modelId="{7EEB092A-743E-4F29-B976-7E19D29C2E77}" type="pres">
      <dgm:prSet presAssocID="{DA71DBD6-2E17-48AD-9CB2-AFA70512E2CA}" presName="connTx" presStyleLbl="parChTrans1D2" presStyleIdx="2" presStyleCnt="5"/>
      <dgm:spPr/>
      <dgm:t>
        <a:bodyPr/>
        <a:lstStyle/>
        <a:p>
          <a:endParaRPr lang="fr-FR"/>
        </a:p>
      </dgm:t>
    </dgm:pt>
    <dgm:pt modelId="{EEF9A2BC-57B2-4EFB-8013-FD885096D0B9}" type="pres">
      <dgm:prSet presAssocID="{CD8F5799-A5B6-4687-B5AA-F8DC09C60404}" presName="root2" presStyleCnt="0"/>
      <dgm:spPr/>
    </dgm:pt>
    <dgm:pt modelId="{E3F83235-D2AE-4B78-814C-60208A067EA7}" type="pres">
      <dgm:prSet presAssocID="{CD8F5799-A5B6-4687-B5AA-F8DC09C60404}" presName="LevelTwoTextNode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64279BB6-1C0F-47C4-B3CF-797302B7517A}" type="pres">
      <dgm:prSet presAssocID="{CD8F5799-A5B6-4687-B5AA-F8DC09C60404}" presName="level3hierChild" presStyleCnt="0"/>
      <dgm:spPr/>
    </dgm:pt>
    <dgm:pt modelId="{6624AA0A-3828-48FC-A29C-1D06D39C6445}" type="pres">
      <dgm:prSet presAssocID="{8552E792-439B-4445-9293-D23C98567B0B}" presName="conn2-1" presStyleLbl="parChTrans1D2" presStyleIdx="3" presStyleCnt="5"/>
      <dgm:spPr/>
      <dgm:t>
        <a:bodyPr/>
        <a:lstStyle/>
        <a:p>
          <a:endParaRPr lang="fr-FR"/>
        </a:p>
      </dgm:t>
    </dgm:pt>
    <dgm:pt modelId="{D1A799D1-B721-4633-9DA6-44E7738AE5E7}" type="pres">
      <dgm:prSet presAssocID="{8552E792-439B-4445-9293-D23C98567B0B}" presName="connTx" presStyleLbl="parChTrans1D2" presStyleIdx="3" presStyleCnt="5"/>
      <dgm:spPr/>
      <dgm:t>
        <a:bodyPr/>
        <a:lstStyle/>
        <a:p>
          <a:endParaRPr lang="fr-FR"/>
        </a:p>
      </dgm:t>
    </dgm:pt>
    <dgm:pt modelId="{88E9C191-847D-4B26-B473-A3251DD35A88}" type="pres">
      <dgm:prSet presAssocID="{FC11033F-66D8-4149-ADE0-47EC0424A65F}" presName="root2" presStyleCnt="0"/>
      <dgm:spPr/>
    </dgm:pt>
    <dgm:pt modelId="{EB50404B-6C8D-41C5-93AA-C866C4CCCEC0}" type="pres">
      <dgm:prSet presAssocID="{FC11033F-66D8-4149-ADE0-47EC0424A65F}" presName="LevelTwoTextNode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AE2E9D78-46E1-4E4D-9EB2-8B56BB4FB27D}" type="pres">
      <dgm:prSet presAssocID="{FC11033F-66D8-4149-ADE0-47EC0424A65F}" presName="level3hierChild" presStyleCnt="0"/>
      <dgm:spPr/>
    </dgm:pt>
    <dgm:pt modelId="{B259068E-B6C1-405D-953F-6AF127109A86}" type="pres">
      <dgm:prSet presAssocID="{5B20CF2A-B568-4BBD-BC11-6D6FACC8BE95}" presName="conn2-1" presStyleLbl="parChTrans1D2" presStyleIdx="4" presStyleCnt="5"/>
      <dgm:spPr/>
      <dgm:t>
        <a:bodyPr/>
        <a:lstStyle/>
        <a:p>
          <a:endParaRPr lang="fr-FR"/>
        </a:p>
      </dgm:t>
    </dgm:pt>
    <dgm:pt modelId="{182C32C4-4144-4FD5-9003-F5C467523C57}" type="pres">
      <dgm:prSet presAssocID="{5B20CF2A-B568-4BBD-BC11-6D6FACC8BE95}" presName="connTx" presStyleLbl="parChTrans1D2" presStyleIdx="4" presStyleCnt="5"/>
      <dgm:spPr/>
      <dgm:t>
        <a:bodyPr/>
        <a:lstStyle/>
        <a:p>
          <a:endParaRPr lang="fr-FR"/>
        </a:p>
      </dgm:t>
    </dgm:pt>
    <dgm:pt modelId="{D27C7E35-593D-46DE-AFFE-A89C0AD9DAB7}" type="pres">
      <dgm:prSet presAssocID="{01EE12EF-F002-4D9E-8D24-DECDC6784FE1}" presName="root2" presStyleCnt="0"/>
      <dgm:spPr/>
    </dgm:pt>
    <dgm:pt modelId="{C873101E-BE62-48C2-8C51-B551C6AE5771}" type="pres">
      <dgm:prSet presAssocID="{01EE12EF-F002-4D9E-8D24-DECDC6784FE1}" presName="LevelTwoTextNode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A9515A37-5156-457F-AE09-C7D5D92502E0}" type="pres">
      <dgm:prSet presAssocID="{01EE12EF-F002-4D9E-8D24-DECDC6784FE1}" presName="level3hierChild" presStyleCnt="0"/>
      <dgm:spPr/>
    </dgm:pt>
    <dgm:pt modelId="{42A92CFD-0080-4F05-ADBC-0A9BB3E447C4}" type="pres">
      <dgm:prSet presAssocID="{398F0DF9-F5F8-4F44-89B8-C641BEFEE206}" presName="root1" presStyleCnt="0"/>
      <dgm:spPr/>
    </dgm:pt>
    <dgm:pt modelId="{743C0396-A006-4AFA-A8A7-1EA7B3CDAA0D}" type="pres">
      <dgm:prSet presAssocID="{398F0DF9-F5F8-4F44-89B8-C641BEFEE206}" presName="LevelOneTextNode" presStyleLbl="node0" presStyleIdx="3" presStyleCnt="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3E1D026D-0F33-47C1-A98A-F86609D45CB2}" type="pres">
      <dgm:prSet presAssocID="{398F0DF9-F5F8-4F44-89B8-C641BEFEE206}" presName="level2hierChild" presStyleCnt="0"/>
      <dgm:spPr/>
    </dgm:pt>
  </dgm:ptLst>
  <dgm:cxnLst>
    <dgm:cxn modelId="{A3B47CDF-EE99-495C-A192-656E8CE08857}" type="presOf" srcId="{8552E792-439B-4445-9293-D23C98567B0B}" destId="{6624AA0A-3828-48FC-A29C-1D06D39C6445}" srcOrd="0" destOrd="0" presId="urn:microsoft.com/office/officeart/2005/8/layout/hierarchy2"/>
    <dgm:cxn modelId="{943465C4-73F4-45E8-8579-F05A002CAAA1}" srcId="{BDD3F110-F1E5-4FFF-82EF-E1006D8ED397}" destId="{01EE12EF-F002-4D9E-8D24-DECDC6784FE1}" srcOrd="4" destOrd="0" parTransId="{5B20CF2A-B568-4BBD-BC11-6D6FACC8BE95}" sibTransId="{30C11A0E-F0AE-49ED-88E4-C77702A0FA01}"/>
    <dgm:cxn modelId="{B83D10FA-3848-4B7C-83FB-15C97FBEEEAD}" type="presOf" srcId="{398F0DF9-F5F8-4F44-89B8-C641BEFEE206}" destId="{743C0396-A006-4AFA-A8A7-1EA7B3CDAA0D}" srcOrd="0" destOrd="0" presId="urn:microsoft.com/office/officeart/2005/8/layout/hierarchy2"/>
    <dgm:cxn modelId="{155399C8-DDE9-4B58-AE11-EA5E83A3FF9A}" type="presOf" srcId="{3E0933CC-98A0-4216-B3AE-E009A6F14EA2}" destId="{66E71113-9C82-4376-84CC-1759C2D15286}" srcOrd="0" destOrd="0" presId="urn:microsoft.com/office/officeart/2005/8/layout/hierarchy2"/>
    <dgm:cxn modelId="{C0B9E9F3-916B-4493-A27A-12B34CFD3461}" srcId="{68AB33B4-7907-46DC-A2FD-24D9B83FED2F}" destId="{BDD3F110-F1E5-4FFF-82EF-E1006D8ED397}" srcOrd="2" destOrd="0" parTransId="{0C204D1C-FD1A-4AAF-B275-B4092D9E6589}" sibTransId="{194F6F5F-F9E4-4590-8B24-1CF42B8A67F4}"/>
    <dgm:cxn modelId="{DDC6C471-D742-4408-9ABC-B17163252EB7}" type="presOf" srcId="{01EE12EF-F002-4D9E-8D24-DECDC6784FE1}" destId="{C873101E-BE62-48C2-8C51-B551C6AE5771}" srcOrd="0" destOrd="0" presId="urn:microsoft.com/office/officeart/2005/8/layout/hierarchy2"/>
    <dgm:cxn modelId="{249D61F4-D17E-49F8-A5FA-C399635D0F4F}" srcId="{BDD3F110-F1E5-4FFF-82EF-E1006D8ED397}" destId="{22E9B360-801F-46DB-AD4F-10EC8698575D}" srcOrd="1" destOrd="0" parTransId="{6BA3BE7E-BDD3-44CF-BBE0-6C740B21BF53}" sibTransId="{00C4FE06-F450-41DF-8CAE-3B62BD3F4417}"/>
    <dgm:cxn modelId="{3F11AD5B-EC29-4521-8D30-44C9EB3ABD8B}" type="presOf" srcId="{DDECDC5E-C942-4C25-B122-9780F2CBF279}" destId="{7DD97C5E-36EF-4727-88E7-00844D9386CA}" srcOrd="0" destOrd="0" presId="urn:microsoft.com/office/officeart/2005/8/layout/hierarchy2"/>
    <dgm:cxn modelId="{4B91A500-3585-4D43-A4EC-0A40108098AA}" type="presOf" srcId="{5B20CF2A-B568-4BBD-BC11-6D6FACC8BE95}" destId="{182C32C4-4144-4FD5-9003-F5C467523C57}" srcOrd="1" destOrd="0" presId="urn:microsoft.com/office/officeart/2005/8/layout/hierarchy2"/>
    <dgm:cxn modelId="{ADA5D620-7CF9-40C8-8B85-C0930B4A1838}" type="presOf" srcId="{22E9B360-801F-46DB-AD4F-10EC8698575D}" destId="{5AC6AF2C-E872-4132-82D8-CEFD3B5C760B}" srcOrd="0" destOrd="0" presId="urn:microsoft.com/office/officeart/2005/8/layout/hierarchy2"/>
    <dgm:cxn modelId="{D5FC6144-2980-43DB-A462-1164F27BE7DA}" type="presOf" srcId="{6BA3BE7E-BDD3-44CF-BBE0-6C740B21BF53}" destId="{5AE4015D-877E-472F-9783-82E19B040C1B}" srcOrd="0" destOrd="0" presId="urn:microsoft.com/office/officeart/2005/8/layout/hierarchy2"/>
    <dgm:cxn modelId="{23C2262F-AE88-45DB-90E1-5637B715D4A1}" type="presOf" srcId="{FC11033F-66D8-4149-ADE0-47EC0424A65F}" destId="{EB50404B-6C8D-41C5-93AA-C866C4CCCEC0}" srcOrd="0" destOrd="0" presId="urn:microsoft.com/office/officeart/2005/8/layout/hierarchy2"/>
    <dgm:cxn modelId="{D074064B-B09B-4786-A801-9D9BD3C02707}" srcId="{BDD3F110-F1E5-4FFF-82EF-E1006D8ED397}" destId="{3E0933CC-98A0-4216-B3AE-E009A6F14EA2}" srcOrd="0" destOrd="0" parTransId="{DDECDC5E-C942-4C25-B122-9780F2CBF279}" sibTransId="{6243C941-B84F-4A6A-8015-EF0DD6E24D38}"/>
    <dgm:cxn modelId="{FE1E3C6A-D79C-4A2A-B2AE-CD19A345B4E5}" type="presOf" srcId="{2ABA1A0A-9DEF-4775-9F86-2543903CE773}" destId="{998CF0ED-649C-47F3-9927-A053A8C3D347}" srcOrd="0" destOrd="0" presId="urn:microsoft.com/office/officeart/2005/8/layout/hierarchy2"/>
    <dgm:cxn modelId="{7C2724CA-AB01-4085-B0B5-A6C593EF9703}" type="presOf" srcId="{8552E792-439B-4445-9293-D23C98567B0B}" destId="{D1A799D1-B721-4633-9DA6-44E7738AE5E7}" srcOrd="1" destOrd="0" presId="urn:microsoft.com/office/officeart/2005/8/layout/hierarchy2"/>
    <dgm:cxn modelId="{2974C088-190F-4A6F-B8B3-BB743F080EFD}" srcId="{68AB33B4-7907-46DC-A2FD-24D9B83FED2F}" destId="{2ABA1A0A-9DEF-4775-9F86-2543903CE773}" srcOrd="1" destOrd="0" parTransId="{F388AB1A-1A13-4034-B261-47808F276887}" sibTransId="{0817F91F-517D-4C99-873E-827887E1BA74}"/>
    <dgm:cxn modelId="{D50CE7E3-6A2E-4628-B04C-B52C8615F577}" srcId="{BDD3F110-F1E5-4FFF-82EF-E1006D8ED397}" destId="{CD8F5799-A5B6-4687-B5AA-F8DC09C60404}" srcOrd="2" destOrd="0" parTransId="{DA71DBD6-2E17-48AD-9CB2-AFA70512E2CA}" sibTransId="{DBECEAFA-09F8-4B9A-8720-CCEFCAA19A95}"/>
    <dgm:cxn modelId="{05CE7BED-9AF1-43E4-BFFD-B3728F809681}" type="presOf" srcId="{6BA3BE7E-BDD3-44CF-BBE0-6C740B21BF53}" destId="{59C0BC8B-18D0-4F58-BE0C-A8C392380E98}" srcOrd="1" destOrd="0" presId="urn:microsoft.com/office/officeart/2005/8/layout/hierarchy2"/>
    <dgm:cxn modelId="{1416FA8E-AE18-491C-8CF2-6A03C522F6BD}" type="presOf" srcId="{A0220CEB-F54F-4DBC-BB9B-8FBFBB68C335}" destId="{2274ED47-976F-4CAE-BA93-8465DA052279}" srcOrd="0" destOrd="0" presId="urn:microsoft.com/office/officeart/2005/8/layout/hierarchy2"/>
    <dgm:cxn modelId="{33346F2B-A165-44E2-8ED5-422B83C11FD4}" srcId="{68AB33B4-7907-46DC-A2FD-24D9B83FED2F}" destId="{A0220CEB-F54F-4DBC-BB9B-8FBFBB68C335}" srcOrd="0" destOrd="0" parTransId="{34B34C53-B6C1-4072-A1ED-F4E0FB97D2D5}" sibTransId="{E59660BF-59F8-44F1-90BC-7056E10E6765}"/>
    <dgm:cxn modelId="{0BCA8A2B-2654-4425-994C-4743EB554F89}" srcId="{BDD3F110-F1E5-4FFF-82EF-E1006D8ED397}" destId="{FC11033F-66D8-4149-ADE0-47EC0424A65F}" srcOrd="3" destOrd="0" parTransId="{8552E792-439B-4445-9293-D23C98567B0B}" sibTransId="{BA69A07D-3B36-4678-9BFB-8B911F3CCF3E}"/>
    <dgm:cxn modelId="{EFB54A49-8F87-4EF4-8481-B1AFE4F35AB4}" type="presOf" srcId="{DA71DBD6-2E17-48AD-9CB2-AFA70512E2CA}" destId="{7EEB092A-743E-4F29-B976-7E19D29C2E77}" srcOrd="1" destOrd="0" presId="urn:microsoft.com/office/officeart/2005/8/layout/hierarchy2"/>
    <dgm:cxn modelId="{CF77DB8D-4F44-4780-B15C-146479AAE636}" type="presOf" srcId="{68AB33B4-7907-46DC-A2FD-24D9B83FED2F}" destId="{7E91B9B7-5B00-4FFF-8C5D-5FCD366609BA}" srcOrd="0" destOrd="0" presId="urn:microsoft.com/office/officeart/2005/8/layout/hierarchy2"/>
    <dgm:cxn modelId="{B7F42644-9298-4804-93B3-B7686E1BBB16}" type="presOf" srcId="{BDD3F110-F1E5-4FFF-82EF-E1006D8ED397}" destId="{B6953B44-1D31-4354-979A-D96AB9394413}" srcOrd="0" destOrd="0" presId="urn:microsoft.com/office/officeart/2005/8/layout/hierarchy2"/>
    <dgm:cxn modelId="{06CE031F-D72F-40F7-9FA8-4C16D6A123FE}" type="presOf" srcId="{5B20CF2A-B568-4BBD-BC11-6D6FACC8BE95}" destId="{B259068E-B6C1-405D-953F-6AF127109A86}" srcOrd="0" destOrd="0" presId="urn:microsoft.com/office/officeart/2005/8/layout/hierarchy2"/>
    <dgm:cxn modelId="{47212A95-881C-4E2F-B66F-E4956F06250D}" type="presOf" srcId="{DA71DBD6-2E17-48AD-9CB2-AFA70512E2CA}" destId="{3C9015F1-BF9C-4080-AEC6-56BDD76A5A49}" srcOrd="0" destOrd="0" presId="urn:microsoft.com/office/officeart/2005/8/layout/hierarchy2"/>
    <dgm:cxn modelId="{1D64F4E6-66CB-43A8-8524-A925EDFB90E5}" srcId="{68AB33B4-7907-46DC-A2FD-24D9B83FED2F}" destId="{398F0DF9-F5F8-4F44-89B8-C641BEFEE206}" srcOrd="3" destOrd="0" parTransId="{14600D06-8236-425D-B33C-E1736C729D60}" sibTransId="{EE365057-D40F-4670-83A4-EC66EABA1FAB}"/>
    <dgm:cxn modelId="{8D8195D9-00CE-44DD-BD9D-EBA18C26A916}" type="presOf" srcId="{DDECDC5E-C942-4C25-B122-9780F2CBF279}" destId="{89F380CD-E902-43EE-9D4D-D8D59C59F992}" srcOrd="1" destOrd="0" presId="urn:microsoft.com/office/officeart/2005/8/layout/hierarchy2"/>
    <dgm:cxn modelId="{3FF07F21-074C-4503-B0BB-F25643056813}" type="presOf" srcId="{CD8F5799-A5B6-4687-B5AA-F8DC09C60404}" destId="{E3F83235-D2AE-4B78-814C-60208A067EA7}" srcOrd="0" destOrd="0" presId="urn:microsoft.com/office/officeart/2005/8/layout/hierarchy2"/>
    <dgm:cxn modelId="{7044B70C-0933-4925-9146-9741DB49CF14}" type="presParOf" srcId="{7E91B9B7-5B00-4FFF-8C5D-5FCD366609BA}" destId="{10CBA4A2-C0EE-44BE-BB97-A18C13676B31}" srcOrd="0" destOrd="0" presId="urn:microsoft.com/office/officeart/2005/8/layout/hierarchy2"/>
    <dgm:cxn modelId="{B0832FFE-1668-4E24-8944-CD56C6F0BCDD}" type="presParOf" srcId="{10CBA4A2-C0EE-44BE-BB97-A18C13676B31}" destId="{2274ED47-976F-4CAE-BA93-8465DA052279}" srcOrd="0" destOrd="0" presId="urn:microsoft.com/office/officeart/2005/8/layout/hierarchy2"/>
    <dgm:cxn modelId="{5AB1ECD3-4A24-4A8B-994A-A40B854D1FDF}" type="presParOf" srcId="{10CBA4A2-C0EE-44BE-BB97-A18C13676B31}" destId="{3C58932B-6EBA-4918-8786-BBE83CE81194}" srcOrd="1" destOrd="0" presId="urn:microsoft.com/office/officeart/2005/8/layout/hierarchy2"/>
    <dgm:cxn modelId="{EA505808-340F-4436-A786-EABD1CDAD2A2}" type="presParOf" srcId="{7E91B9B7-5B00-4FFF-8C5D-5FCD366609BA}" destId="{1151D64B-E130-4DEE-B8DF-A6B849C0C77D}" srcOrd="1" destOrd="0" presId="urn:microsoft.com/office/officeart/2005/8/layout/hierarchy2"/>
    <dgm:cxn modelId="{D202DA9D-0316-4905-9CAE-A679923234BB}" type="presParOf" srcId="{1151D64B-E130-4DEE-B8DF-A6B849C0C77D}" destId="{998CF0ED-649C-47F3-9927-A053A8C3D347}" srcOrd="0" destOrd="0" presId="urn:microsoft.com/office/officeart/2005/8/layout/hierarchy2"/>
    <dgm:cxn modelId="{CAC01304-D23D-422A-8510-98D7AF4706FE}" type="presParOf" srcId="{1151D64B-E130-4DEE-B8DF-A6B849C0C77D}" destId="{A376AFB8-6BF1-4D19-BCCF-00C0F5ECB229}" srcOrd="1" destOrd="0" presId="urn:microsoft.com/office/officeart/2005/8/layout/hierarchy2"/>
    <dgm:cxn modelId="{78049D35-9B3B-4C7E-B05C-C4E820B8E657}" type="presParOf" srcId="{7E91B9B7-5B00-4FFF-8C5D-5FCD366609BA}" destId="{D86B8229-E829-4184-81CA-4F5C97A73C7A}" srcOrd="2" destOrd="0" presId="urn:microsoft.com/office/officeart/2005/8/layout/hierarchy2"/>
    <dgm:cxn modelId="{13D71A3C-95A5-40BE-9F3D-2997B482667C}" type="presParOf" srcId="{D86B8229-E829-4184-81CA-4F5C97A73C7A}" destId="{B6953B44-1D31-4354-979A-D96AB9394413}" srcOrd="0" destOrd="0" presId="urn:microsoft.com/office/officeart/2005/8/layout/hierarchy2"/>
    <dgm:cxn modelId="{91DEE958-E6DA-4BA9-BD00-4D95E4E0257B}" type="presParOf" srcId="{D86B8229-E829-4184-81CA-4F5C97A73C7A}" destId="{C4325668-E91B-4BB6-9242-9515225A1B7A}" srcOrd="1" destOrd="0" presId="urn:microsoft.com/office/officeart/2005/8/layout/hierarchy2"/>
    <dgm:cxn modelId="{FC30364C-03FB-45D6-BB84-5307DDC962B5}" type="presParOf" srcId="{C4325668-E91B-4BB6-9242-9515225A1B7A}" destId="{7DD97C5E-36EF-4727-88E7-00844D9386CA}" srcOrd="0" destOrd="0" presId="urn:microsoft.com/office/officeart/2005/8/layout/hierarchy2"/>
    <dgm:cxn modelId="{B6FFD2E3-916A-4411-B8CD-BA54B88CD42E}" type="presParOf" srcId="{7DD97C5E-36EF-4727-88E7-00844D9386CA}" destId="{89F380CD-E902-43EE-9D4D-D8D59C59F992}" srcOrd="0" destOrd="0" presId="urn:microsoft.com/office/officeart/2005/8/layout/hierarchy2"/>
    <dgm:cxn modelId="{82F72BB9-4B4E-4635-A664-FBD25834199D}" type="presParOf" srcId="{C4325668-E91B-4BB6-9242-9515225A1B7A}" destId="{1505C68A-7A4C-40FC-BFF6-2E541C19661F}" srcOrd="1" destOrd="0" presId="urn:microsoft.com/office/officeart/2005/8/layout/hierarchy2"/>
    <dgm:cxn modelId="{1B2090CC-CBBA-4AB3-A24E-AE93735427F0}" type="presParOf" srcId="{1505C68A-7A4C-40FC-BFF6-2E541C19661F}" destId="{66E71113-9C82-4376-84CC-1759C2D15286}" srcOrd="0" destOrd="0" presId="urn:microsoft.com/office/officeart/2005/8/layout/hierarchy2"/>
    <dgm:cxn modelId="{7C61A254-C07A-4741-9175-91FD05CAC571}" type="presParOf" srcId="{1505C68A-7A4C-40FC-BFF6-2E541C19661F}" destId="{86197650-C942-4323-81FA-BE54B32E4C9A}" srcOrd="1" destOrd="0" presId="urn:microsoft.com/office/officeart/2005/8/layout/hierarchy2"/>
    <dgm:cxn modelId="{A4781C5C-D986-497D-AF0B-C9BD1F2FF684}" type="presParOf" srcId="{C4325668-E91B-4BB6-9242-9515225A1B7A}" destId="{5AE4015D-877E-472F-9783-82E19B040C1B}" srcOrd="2" destOrd="0" presId="urn:microsoft.com/office/officeart/2005/8/layout/hierarchy2"/>
    <dgm:cxn modelId="{2D7856D6-33B4-4213-951A-F7C1C3FBD633}" type="presParOf" srcId="{5AE4015D-877E-472F-9783-82E19B040C1B}" destId="{59C0BC8B-18D0-4F58-BE0C-A8C392380E98}" srcOrd="0" destOrd="0" presId="urn:microsoft.com/office/officeart/2005/8/layout/hierarchy2"/>
    <dgm:cxn modelId="{B78D96B4-21E1-47C1-9F90-CC7B0E53760A}" type="presParOf" srcId="{C4325668-E91B-4BB6-9242-9515225A1B7A}" destId="{E173EB82-0127-4723-A38A-B32E6CD11D21}" srcOrd="3" destOrd="0" presId="urn:microsoft.com/office/officeart/2005/8/layout/hierarchy2"/>
    <dgm:cxn modelId="{5C0D7333-501F-435C-9B77-8B6C77A6EA24}" type="presParOf" srcId="{E173EB82-0127-4723-A38A-B32E6CD11D21}" destId="{5AC6AF2C-E872-4132-82D8-CEFD3B5C760B}" srcOrd="0" destOrd="0" presId="urn:microsoft.com/office/officeart/2005/8/layout/hierarchy2"/>
    <dgm:cxn modelId="{3D37B234-486B-427F-9BFE-D91D400EECD0}" type="presParOf" srcId="{E173EB82-0127-4723-A38A-B32E6CD11D21}" destId="{1503D0F4-289E-4CD9-9ED2-EDBAF8465F1A}" srcOrd="1" destOrd="0" presId="urn:microsoft.com/office/officeart/2005/8/layout/hierarchy2"/>
    <dgm:cxn modelId="{A319E195-AE38-474F-9048-18D298BB5314}" type="presParOf" srcId="{C4325668-E91B-4BB6-9242-9515225A1B7A}" destId="{3C9015F1-BF9C-4080-AEC6-56BDD76A5A49}" srcOrd="4" destOrd="0" presId="urn:microsoft.com/office/officeart/2005/8/layout/hierarchy2"/>
    <dgm:cxn modelId="{C0A8F52E-3BF0-46D4-A847-AB288400E69A}" type="presParOf" srcId="{3C9015F1-BF9C-4080-AEC6-56BDD76A5A49}" destId="{7EEB092A-743E-4F29-B976-7E19D29C2E77}" srcOrd="0" destOrd="0" presId="urn:microsoft.com/office/officeart/2005/8/layout/hierarchy2"/>
    <dgm:cxn modelId="{B30215A2-67BC-4606-9274-D888FCEF8BD8}" type="presParOf" srcId="{C4325668-E91B-4BB6-9242-9515225A1B7A}" destId="{EEF9A2BC-57B2-4EFB-8013-FD885096D0B9}" srcOrd="5" destOrd="0" presId="urn:microsoft.com/office/officeart/2005/8/layout/hierarchy2"/>
    <dgm:cxn modelId="{F92D9101-6612-431E-98A6-7FA7C23837D6}" type="presParOf" srcId="{EEF9A2BC-57B2-4EFB-8013-FD885096D0B9}" destId="{E3F83235-D2AE-4B78-814C-60208A067EA7}" srcOrd="0" destOrd="0" presId="urn:microsoft.com/office/officeart/2005/8/layout/hierarchy2"/>
    <dgm:cxn modelId="{C381B491-2876-47DF-9B47-04EEEE4BC9C8}" type="presParOf" srcId="{EEF9A2BC-57B2-4EFB-8013-FD885096D0B9}" destId="{64279BB6-1C0F-47C4-B3CF-797302B7517A}" srcOrd="1" destOrd="0" presId="urn:microsoft.com/office/officeart/2005/8/layout/hierarchy2"/>
    <dgm:cxn modelId="{4EF5BE54-50D7-46F7-83FA-84E47272D4AC}" type="presParOf" srcId="{C4325668-E91B-4BB6-9242-9515225A1B7A}" destId="{6624AA0A-3828-48FC-A29C-1D06D39C6445}" srcOrd="6" destOrd="0" presId="urn:microsoft.com/office/officeart/2005/8/layout/hierarchy2"/>
    <dgm:cxn modelId="{ED3679A2-0709-4A75-8F52-166FF0184DAC}" type="presParOf" srcId="{6624AA0A-3828-48FC-A29C-1D06D39C6445}" destId="{D1A799D1-B721-4633-9DA6-44E7738AE5E7}" srcOrd="0" destOrd="0" presId="urn:microsoft.com/office/officeart/2005/8/layout/hierarchy2"/>
    <dgm:cxn modelId="{287C5EC0-61C2-416A-86B7-8210ACDAB293}" type="presParOf" srcId="{C4325668-E91B-4BB6-9242-9515225A1B7A}" destId="{88E9C191-847D-4B26-B473-A3251DD35A88}" srcOrd="7" destOrd="0" presId="urn:microsoft.com/office/officeart/2005/8/layout/hierarchy2"/>
    <dgm:cxn modelId="{C9A6DF48-35FE-4465-BF10-2EF6A7AA2765}" type="presParOf" srcId="{88E9C191-847D-4B26-B473-A3251DD35A88}" destId="{EB50404B-6C8D-41C5-93AA-C866C4CCCEC0}" srcOrd="0" destOrd="0" presId="urn:microsoft.com/office/officeart/2005/8/layout/hierarchy2"/>
    <dgm:cxn modelId="{9466D71F-254E-4717-A326-E4F18F3980A1}" type="presParOf" srcId="{88E9C191-847D-4B26-B473-A3251DD35A88}" destId="{AE2E9D78-46E1-4E4D-9EB2-8B56BB4FB27D}" srcOrd="1" destOrd="0" presId="urn:microsoft.com/office/officeart/2005/8/layout/hierarchy2"/>
    <dgm:cxn modelId="{5ED510E9-4E08-4A29-8235-F66DA33DD101}" type="presParOf" srcId="{C4325668-E91B-4BB6-9242-9515225A1B7A}" destId="{B259068E-B6C1-405D-953F-6AF127109A86}" srcOrd="8" destOrd="0" presId="urn:microsoft.com/office/officeart/2005/8/layout/hierarchy2"/>
    <dgm:cxn modelId="{7E0AD205-3D89-4A36-9682-B555B6DDF228}" type="presParOf" srcId="{B259068E-B6C1-405D-953F-6AF127109A86}" destId="{182C32C4-4144-4FD5-9003-F5C467523C57}" srcOrd="0" destOrd="0" presId="urn:microsoft.com/office/officeart/2005/8/layout/hierarchy2"/>
    <dgm:cxn modelId="{8B77BD0C-CC6F-4536-AE9F-FEC529DA59B2}" type="presParOf" srcId="{C4325668-E91B-4BB6-9242-9515225A1B7A}" destId="{D27C7E35-593D-46DE-AFFE-A89C0AD9DAB7}" srcOrd="9" destOrd="0" presId="urn:microsoft.com/office/officeart/2005/8/layout/hierarchy2"/>
    <dgm:cxn modelId="{ACD9E850-F553-4AD7-AB6C-9172851CA34D}" type="presParOf" srcId="{D27C7E35-593D-46DE-AFFE-A89C0AD9DAB7}" destId="{C873101E-BE62-48C2-8C51-B551C6AE5771}" srcOrd="0" destOrd="0" presId="urn:microsoft.com/office/officeart/2005/8/layout/hierarchy2"/>
    <dgm:cxn modelId="{98B2648F-47EA-42D9-8422-3CF4FFAAA7F3}" type="presParOf" srcId="{D27C7E35-593D-46DE-AFFE-A89C0AD9DAB7}" destId="{A9515A37-5156-457F-AE09-C7D5D92502E0}" srcOrd="1" destOrd="0" presId="urn:microsoft.com/office/officeart/2005/8/layout/hierarchy2"/>
    <dgm:cxn modelId="{F54CE5D8-0AD2-41D4-BCA9-A6661AD81B45}" type="presParOf" srcId="{7E91B9B7-5B00-4FFF-8C5D-5FCD366609BA}" destId="{42A92CFD-0080-4F05-ADBC-0A9BB3E447C4}" srcOrd="3" destOrd="0" presId="urn:microsoft.com/office/officeart/2005/8/layout/hierarchy2"/>
    <dgm:cxn modelId="{9568FE22-DBA6-45EE-96AD-4746D1366488}" type="presParOf" srcId="{42A92CFD-0080-4F05-ADBC-0A9BB3E447C4}" destId="{743C0396-A006-4AFA-A8A7-1EA7B3CDAA0D}" srcOrd="0" destOrd="0" presId="urn:microsoft.com/office/officeart/2005/8/layout/hierarchy2"/>
    <dgm:cxn modelId="{3D38B7B7-8EDC-43DE-B568-1F7580B4EB43}" type="presParOf" srcId="{42A92CFD-0080-4F05-ADBC-0A9BB3E447C4}" destId="{3E1D026D-0F33-47C1-A98A-F86609D45CB2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081D27-ECBE-4FEC-9FC3-DBFA5C3D5B02}">
      <dsp:nvSpPr>
        <dsp:cNvPr id="0" name=""/>
        <dsp:cNvSpPr/>
      </dsp:nvSpPr>
      <dsp:spPr>
        <a:xfrm>
          <a:off x="3168064" y="1876223"/>
          <a:ext cx="1800775" cy="1781487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kern="1200" dirty="0" err="1" smtClean="0"/>
            <a:t>Skill</a:t>
          </a:r>
          <a:r>
            <a:rPr lang="fr-FR" sz="2800" kern="1200" dirty="0" smtClean="0"/>
            <a:t> Groups</a:t>
          </a:r>
          <a:endParaRPr lang="fr-FR" sz="2800" kern="1200" dirty="0"/>
        </a:p>
      </dsp:txBody>
      <dsp:txXfrm>
        <a:off x="3431781" y="2137116"/>
        <a:ext cx="1273341" cy="1259701"/>
      </dsp:txXfrm>
    </dsp:sp>
    <dsp:sp modelId="{246DA683-4E05-49E7-A326-AFEB5321E182}">
      <dsp:nvSpPr>
        <dsp:cNvPr id="0" name=""/>
        <dsp:cNvSpPr/>
      </dsp:nvSpPr>
      <dsp:spPr>
        <a:xfrm rot="16200000">
          <a:off x="3822724" y="1615202"/>
          <a:ext cx="491455" cy="30585"/>
        </a:xfrm>
        <a:custGeom>
          <a:avLst/>
          <a:gdLst/>
          <a:ahLst/>
          <a:cxnLst/>
          <a:rect l="0" t="0" r="0" b="0"/>
          <a:pathLst>
            <a:path>
              <a:moveTo>
                <a:pt x="0" y="15292"/>
              </a:moveTo>
              <a:lnTo>
                <a:pt x="491455" y="1529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4056165" y="1618209"/>
        <a:ext cx="24572" cy="24572"/>
      </dsp:txXfrm>
    </dsp:sp>
    <dsp:sp modelId="{71C78D12-DE76-48B1-939D-CBC390C12618}">
      <dsp:nvSpPr>
        <dsp:cNvPr id="0" name=""/>
        <dsp:cNvSpPr/>
      </dsp:nvSpPr>
      <dsp:spPr>
        <a:xfrm>
          <a:off x="3377133" y="2129"/>
          <a:ext cx="1382637" cy="1382637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smtClean="0"/>
            <a:t>Finance Assurance</a:t>
          </a:r>
          <a:r>
            <a:rPr lang="fr-FR" sz="1300" kern="1200" dirty="0" smtClean="0"/>
            <a:t/>
          </a:r>
          <a:br>
            <a:rPr lang="fr-FR" sz="1300" kern="1200" dirty="0" smtClean="0"/>
          </a:br>
          <a:r>
            <a:rPr lang="fr-FR" sz="1300" kern="1200" dirty="0" smtClean="0"/>
            <a:t>Habib </a:t>
          </a:r>
          <a:r>
            <a:rPr lang="fr-FR" sz="1300" kern="1200" dirty="0" err="1" smtClean="0"/>
            <a:t>Zouine</a:t>
          </a:r>
          <a:endParaRPr lang="fr-FR" sz="1300" kern="1200" dirty="0"/>
        </a:p>
      </dsp:txBody>
      <dsp:txXfrm>
        <a:off x="3579616" y="204612"/>
        <a:ext cx="977671" cy="977671"/>
      </dsp:txXfrm>
    </dsp:sp>
    <dsp:sp modelId="{A477E18B-C8C6-49EA-A5A9-084A64DDD9A7}">
      <dsp:nvSpPr>
        <dsp:cNvPr id="0" name=""/>
        <dsp:cNvSpPr/>
      </dsp:nvSpPr>
      <dsp:spPr>
        <a:xfrm rot="19285714">
          <a:off x="4716472" y="2041269"/>
          <a:ext cx="485598" cy="30585"/>
        </a:xfrm>
        <a:custGeom>
          <a:avLst/>
          <a:gdLst/>
          <a:ahLst/>
          <a:cxnLst/>
          <a:rect l="0" t="0" r="0" b="0"/>
          <a:pathLst>
            <a:path>
              <a:moveTo>
                <a:pt x="0" y="15292"/>
              </a:moveTo>
              <a:lnTo>
                <a:pt x="485598" y="1529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4947131" y="2044422"/>
        <a:ext cx="24279" cy="24279"/>
      </dsp:txXfrm>
    </dsp:sp>
    <dsp:sp modelId="{A053593C-A915-4CFD-8E35-023FDB494DA8}">
      <dsp:nvSpPr>
        <dsp:cNvPr id="0" name=""/>
        <dsp:cNvSpPr/>
      </dsp:nvSpPr>
      <dsp:spPr>
        <a:xfrm>
          <a:off x="4998275" y="782830"/>
          <a:ext cx="1382637" cy="1382637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smtClean="0"/>
            <a:t>Telecom et Media</a:t>
          </a:r>
          <a:r>
            <a:rPr lang="fr-FR" sz="1300" kern="1200" dirty="0" smtClean="0"/>
            <a:t/>
          </a:r>
          <a:br>
            <a:rPr lang="fr-FR" sz="1300" kern="1200" dirty="0" smtClean="0"/>
          </a:br>
          <a:r>
            <a:rPr lang="fr-FR" sz="1300" kern="1200" dirty="0" smtClean="0"/>
            <a:t>Imane </a:t>
          </a:r>
          <a:r>
            <a:rPr lang="fr-FR" sz="1300" kern="1200" dirty="0" err="1" smtClean="0"/>
            <a:t>Hlil</a:t>
          </a:r>
          <a:endParaRPr lang="fr-FR" sz="1300" kern="1200" dirty="0"/>
        </a:p>
      </dsp:txBody>
      <dsp:txXfrm>
        <a:off x="5200758" y="985313"/>
        <a:ext cx="977671" cy="977671"/>
      </dsp:txXfrm>
    </dsp:sp>
    <dsp:sp modelId="{AB600EA1-C6F7-45F6-A61A-15FFBA2E56FB}">
      <dsp:nvSpPr>
        <dsp:cNvPr id="0" name=""/>
        <dsp:cNvSpPr/>
      </dsp:nvSpPr>
      <dsp:spPr>
        <a:xfrm rot="771429">
          <a:off x="4939746" y="3005582"/>
          <a:ext cx="482296" cy="30585"/>
        </a:xfrm>
        <a:custGeom>
          <a:avLst/>
          <a:gdLst/>
          <a:ahLst/>
          <a:cxnLst/>
          <a:rect l="0" t="0" r="0" b="0"/>
          <a:pathLst>
            <a:path>
              <a:moveTo>
                <a:pt x="0" y="15292"/>
              </a:moveTo>
              <a:lnTo>
                <a:pt x="482296" y="1529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5168837" y="3008817"/>
        <a:ext cx="24114" cy="24114"/>
      </dsp:txXfrm>
    </dsp:sp>
    <dsp:sp modelId="{AB151A99-502A-40BF-8C56-803AA5616BDE}">
      <dsp:nvSpPr>
        <dsp:cNvPr id="0" name=""/>
        <dsp:cNvSpPr/>
      </dsp:nvSpPr>
      <dsp:spPr>
        <a:xfrm>
          <a:off x="5398664" y="2537049"/>
          <a:ext cx="1382637" cy="1382637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smtClean="0"/>
            <a:t>Services</a:t>
          </a:r>
          <a:r>
            <a:rPr lang="fr-FR" sz="1300" kern="1200" dirty="0" smtClean="0"/>
            <a:t/>
          </a:r>
          <a:br>
            <a:rPr lang="fr-FR" sz="1300" kern="1200" dirty="0" smtClean="0"/>
          </a:br>
          <a:r>
            <a:rPr lang="fr-FR" sz="1300" kern="1200" dirty="0" smtClean="0"/>
            <a:t>Martins pires</a:t>
          </a:r>
          <a:endParaRPr lang="fr-FR" sz="1300" kern="1200" dirty="0"/>
        </a:p>
      </dsp:txBody>
      <dsp:txXfrm>
        <a:off x="5601147" y="2739532"/>
        <a:ext cx="977671" cy="977671"/>
      </dsp:txXfrm>
    </dsp:sp>
    <dsp:sp modelId="{F7631102-C36A-41B3-B5AE-9DABD9FBAA4F}">
      <dsp:nvSpPr>
        <dsp:cNvPr id="0" name=""/>
        <dsp:cNvSpPr/>
      </dsp:nvSpPr>
      <dsp:spPr>
        <a:xfrm rot="3857143">
          <a:off x="4317105" y="3776407"/>
          <a:ext cx="489664" cy="30585"/>
        </a:xfrm>
        <a:custGeom>
          <a:avLst/>
          <a:gdLst/>
          <a:ahLst/>
          <a:cxnLst/>
          <a:rect l="0" t="0" r="0" b="0"/>
          <a:pathLst>
            <a:path>
              <a:moveTo>
                <a:pt x="0" y="15292"/>
              </a:moveTo>
              <a:lnTo>
                <a:pt x="489664" y="1529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4549695" y="3779458"/>
        <a:ext cx="24483" cy="24483"/>
      </dsp:txXfrm>
    </dsp:sp>
    <dsp:sp modelId="{1E06C319-9D46-4225-B111-B576CF24AC8D}">
      <dsp:nvSpPr>
        <dsp:cNvPr id="0" name=""/>
        <dsp:cNvSpPr/>
      </dsp:nvSpPr>
      <dsp:spPr>
        <a:xfrm>
          <a:off x="4276799" y="3943824"/>
          <a:ext cx="1382637" cy="1382637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smtClean="0"/>
            <a:t>Industrie et Distribution </a:t>
          </a:r>
          <a:r>
            <a:rPr lang="fr-FR" sz="1300" kern="1200" dirty="0" smtClean="0"/>
            <a:t/>
          </a:r>
          <a:br>
            <a:rPr lang="fr-FR" sz="1300" kern="1200" dirty="0" smtClean="0"/>
          </a:br>
          <a:r>
            <a:rPr lang="fr-FR" sz="1300" kern="1200" dirty="0" smtClean="0"/>
            <a:t>Mouncef </a:t>
          </a:r>
          <a:r>
            <a:rPr lang="fr-FR" sz="1300" kern="1200" dirty="0" err="1" smtClean="0"/>
            <a:t>Nejjary</a:t>
          </a:r>
          <a:endParaRPr lang="fr-FR" sz="1300" kern="1200" dirty="0"/>
        </a:p>
      </dsp:txBody>
      <dsp:txXfrm>
        <a:off x="4479282" y="4146307"/>
        <a:ext cx="977671" cy="977671"/>
      </dsp:txXfrm>
    </dsp:sp>
    <dsp:sp modelId="{1665A012-043E-4290-A68E-F74E8D2D817C}">
      <dsp:nvSpPr>
        <dsp:cNvPr id="0" name=""/>
        <dsp:cNvSpPr/>
      </dsp:nvSpPr>
      <dsp:spPr>
        <a:xfrm rot="6942857">
          <a:off x="3330134" y="3776407"/>
          <a:ext cx="489664" cy="30585"/>
        </a:xfrm>
        <a:custGeom>
          <a:avLst/>
          <a:gdLst/>
          <a:ahLst/>
          <a:cxnLst/>
          <a:rect l="0" t="0" r="0" b="0"/>
          <a:pathLst>
            <a:path>
              <a:moveTo>
                <a:pt x="0" y="15292"/>
              </a:moveTo>
              <a:lnTo>
                <a:pt x="489664" y="1529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 rot="10800000">
        <a:off x="3562725" y="3779458"/>
        <a:ext cx="24483" cy="24483"/>
      </dsp:txXfrm>
    </dsp:sp>
    <dsp:sp modelId="{9B067ADD-6D5E-4E75-8951-39201ED59104}">
      <dsp:nvSpPr>
        <dsp:cNvPr id="0" name=""/>
        <dsp:cNvSpPr/>
      </dsp:nvSpPr>
      <dsp:spPr>
        <a:xfrm>
          <a:off x="2477466" y="3943824"/>
          <a:ext cx="1382637" cy="1382637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smtClean="0"/>
            <a:t>Horizon</a:t>
          </a:r>
          <a:r>
            <a:rPr lang="fr-FR" sz="1300" kern="1200" dirty="0" smtClean="0"/>
            <a:t/>
          </a:r>
          <a:br>
            <a:rPr lang="fr-FR" sz="1300" kern="1200" dirty="0" smtClean="0"/>
          </a:br>
          <a:r>
            <a:rPr lang="fr-FR" sz="1300" kern="1200" dirty="0" smtClean="0"/>
            <a:t>Adnane </a:t>
          </a:r>
          <a:r>
            <a:rPr lang="fr-FR" sz="1300" kern="1200" dirty="0" err="1" smtClean="0"/>
            <a:t>Balboul</a:t>
          </a:r>
          <a:r>
            <a:rPr lang="fr-FR" sz="1300" kern="1200" dirty="0" smtClean="0"/>
            <a:t> </a:t>
          </a:r>
          <a:endParaRPr lang="fr-FR" sz="1300" kern="1200" dirty="0"/>
        </a:p>
      </dsp:txBody>
      <dsp:txXfrm>
        <a:off x="2679949" y="4146307"/>
        <a:ext cx="977671" cy="977671"/>
      </dsp:txXfrm>
    </dsp:sp>
    <dsp:sp modelId="{C8B32897-9880-4B29-AC37-B88B44841231}">
      <dsp:nvSpPr>
        <dsp:cNvPr id="0" name=""/>
        <dsp:cNvSpPr/>
      </dsp:nvSpPr>
      <dsp:spPr>
        <a:xfrm rot="10028571">
          <a:off x="2714860" y="3005582"/>
          <a:ext cx="482296" cy="30585"/>
        </a:xfrm>
        <a:custGeom>
          <a:avLst/>
          <a:gdLst/>
          <a:ahLst/>
          <a:cxnLst/>
          <a:rect l="0" t="0" r="0" b="0"/>
          <a:pathLst>
            <a:path>
              <a:moveTo>
                <a:pt x="0" y="15292"/>
              </a:moveTo>
              <a:lnTo>
                <a:pt x="482296" y="1529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 rot="10800000">
        <a:off x="2943951" y="3008817"/>
        <a:ext cx="24114" cy="24114"/>
      </dsp:txXfrm>
    </dsp:sp>
    <dsp:sp modelId="{1F618EC3-E88C-429F-B961-48249D9C7035}">
      <dsp:nvSpPr>
        <dsp:cNvPr id="0" name=""/>
        <dsp:cNvSpPr/>
      </dsp:nvSpPr>
      <dsp:spPr>
        <a:xfrm>
          <a:off x="1355601" y="2537049"/>
          <a:ext cx="1382637" cy="1382637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smtClean="0"/>
            <a:t>B-Tech</a:t>
          </a:r>
          <a:r>
            <a:rPr lang="fr-FR" sz="1300" kern="1200" dirty="0" smtClean="0"/>
            <a:t/>
          </a:r>
          <a:br>
            <a:rPr lang="fr-FR" sz="1300" kern="1200" dirty="0" smtClean="0"/>
          </a:br>
          <a:r>
            <a:rPr lang="fr-FR" sz="1300" kern="1200" dirty="0" err="1" smtClean="0"/>
            <a:t>Adel</a:t>
          </a:r>
          <a:r>
            <a:rPr lang="fr-FR" sz="1300" kern="1200" dirty="0" smtClean="0"/>
            <a:t> </a:t>
          </a:r>
          <a:r>
            <a:rPr lang="fr-FR" sz="1300" kern="1200" dirty="0" err="1" smtClean="0"/>
            <a:t>Massrali</a:t>
          </a:r>
          <a:endParaRPr lang="fr-FR" sz="1300" kern="1200" dirty="0"/>
        </a:p>
      </dsp:txBody>
      <dsp:txXfrm>
        <a:off x="1558084" y="2739532"/>
        <a:ext cx="977671" cy="977671"/>
      </dsp:txXfrm>
    </dsp:sp>
    <dsp:sp modelId="{C016968D-D810-41D2-A334-1FC3428046F9}">
      <dsp:nvSpPr>
        <dsp:cNvPr id="0" name=""/>
        <dsp:cNvSpPr/>
      </dsp:nvSpPr>
      <dsp:spPr>
        <a:xfrm rot="13114286">
          <a:off x="2934833" y="2041269"/>
          <a:ext cx="485598" cy="30585"/>
        </a:xfrm>
        <a:custGeom>
          <a:avLst/>
          <a:gdLst/>
          <a:ahLst/>
          <a:cxnLst/>
          <a:rect l="0" t="0" r="0" b="0"/>
          <a:pathLst>
            <a:path>
              <a:moveTo>
                <a:pt x="0" y="15292"/>
              </a:moveTo>
              <a:lnTo>
                <a:pt x="485598" y="15292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 rot="10800000">
        <a:off x="3165492" y="2044422"/>
        <a:ext cx="24279" cy="24279"/>
      </dsp:txXfrm>
    </dsp:sp>
    <dsp:sp modelId="{BB655561-AE12-47F4-BAFB-AEBFDB311B9C}">
      <dsp:nvSpPr>
        <dsp:cNvPr id="0" name=""/>
        <dsp:cNvSpPr/>
      </dsp:nvSpPr>
      <dsp:spPr>
        <a:xfrm>
          <a:off x="1755990" y="782830"/>
          <a:ext cx="1382637" cy="1382637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 smtClean="0"/>
            <a:t>Skill</a:t>
          </a:r>
          <a:r>
            <a:rPr lang="fr-FR" sz="1300" b="1" kern="1200" dirty="0" smtClean="0"/>
            <a:t> </a:t>
          </a:r>
          <a:r>
            <a:rPr lang="fr-FR" sz="1300" b="1" kern="1200" dirty="0" err="1" smtClean="0"/>
            <a:t>Shared</a:t>
          </a:r>
          <a:r>
            <a:rPr lang="fr-FR" sz="1300" b="1" kern="1200" dirty="0" smtClean="0"/>
            <a:t> Services</a:t>
          </a:r>
          <a:r>
            <a:rPr lang="fr-FR" sz="1300" kern="1200" dirty="0" smtClean="0"/>
            <a:t/>
          </a:r>
          <a:br>
            <a:rPr lang="fr-FR" sz="1300" kern="1200" dirty="0" smtClean="0"/>
          </a:br>
          <a:r>
            <a:rPr lang="fr-FR" sz="1300" kern="1200" dirty="0" smtClean="0"/>
            <a:t>Nacera </a:t>
          </a:r>
          <a:r>
            <a:rPr lang="fr-FR" sz="1300" kern="1200" dirty="0" err="1" smtClean="0"/>
            <a:t>Kherbouche</a:t>
          </a:r>
          <a:endParaRPr lang="fr-FR" sz="1300" kern="1200" dirty="0"/>
        </a:p>
      </dsp:txBody>
      <dsp:txXfrm>
        <a:off x="1958473" y="985313"/>
        <a:ext cx="977671" cy="9776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193D30-A86F-428E-B186-7F774C675315}">
      <dsp:nvSpPr>
        <dsp:cNvPr id="0" name=""/>
        <dsp:cNvSpPr/>
      </dsp:nvSpPr>
      <dsp:spPr>
        <a:xfrm>
          <a:off x="0" y="1649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/>
            <a:t>Pole CMD &amp; FLUX</a:t>
          </a:r>
          <a:endParaRPr lang="fr-FR" sz="3400" kern="1200" dirty="0"/>
        </a:p>
      </dsp:txBody>
      <dsp:txXfrm>
        <a:off x="38838" y="55331"/>
        <a:ext cx="6526324" cy="717924"/>
      </dsp:txXfrm>
    </dsp:sp>
    <dsp:sp modelId="{F5E5EB87-4422-4237-9992-615594BF7119}">
      <dsp:nvSpPr>
        <dsp:cNvPr id="0" name=""/>
        <dsp:cNvSpPr/>
      </dsp:nvSpPr>
      <dsp:spPr>
        <a:xfrm>
          <a:off x="0" y="91001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smtClean="0"/>
            <a:t>Pole CONVOI</a:t>
          </a:r>
          <a:endParaRPr lang="fr-FR" sz="3400" kern="1200" dirty="0"/>
        </a:p>
      </dsp:txBody>
      <dsp:txXfrm>
        <a:off x="38838" y="948851"/>
        <a:ext cx="6526324" cy="717924"/>
      </dsp:txXfrm>
    </dsp:sp>
    <dsp:sp modelId="{4B45D00D-EAB9-46E9-929F-9E40E3C3FFBF}">
      <dsp:nvSpPr>
        <dsp:cNvPr id="0" name=""/>
        <dsp:cNvSpPr/>
      </dsp:nvSpPr>
      <dsp:spPr>
        <a:xfrm>
          <a:off x="0" y="180353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/>
            <a:t>Pole Gestion</a:t>
          </a:r>
          <a:endParaRPr lang="fr-FR" sz="3400" kern="1200" dirty="0"/>
        </a:p>
      </dsp:txBody>
      <dsp:txXfrm>
        <a:off x="38838" y="1842371"/>
        <a:ext cx="6526324" cy="717924"/>
      </dsp:txXfrm>
    </dsp:sp>
    <dsp:sp modelId="{7C534400-38DA-44F5-8E9F-430113B86B87}">
      <dsp:nvSpPr>
        <dsp:cNvPr id="0" name=""/>
        <dsp:cNvSpPr/>
      </dsp:nvSpPr>
      <dsp:spPr>
        <a:xfrm>
          <a:off x="0" y="269705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smtClean="0"/>
            <a:t>Pole EFR &amp; REF</a:t>
          </a:r>
          <a:endParaRPr lang="fr-FR" sz="3400" kern="1200" dirty="0"/>
        </a:p>
      </dsp:txBody>
      <dsp:txXfrm>
        <a:off x="38838" y="2735891"/>
        <a:ext cx="6526324" cy="717924"/>
      </dsp:txXfrm>
    </dsp:sp>
    <dsp:sp modelId="{1C941002-7699-44F9-8242-35B9232106CD}">
      <dsp:nvSpPr>
        <dsp:cNvPr id="0" name=""/>
        <dsp:cNvSpPr/>
      </dsp:nvSpPr>
      <dsp:spPr>
        <a:xfrm>
          <a:off x="0" y="359057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/>
            <a:t>Pole SAP</a:t>
          </a:r>
        </a:p>
      </dsp:txBody>
      <dsp:txXfrm>
        <a:off x="38838" y="3629411"/>
        <a:ext cx="6526324" cy="7179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193D30-A86F-428E-B186-7F774C675315}">
      <dsp:nvSpPr>
        <dsp:cNvPr id="0" name=""/>
        <dsp:cNvSpPr/>
      </dsp:nvSpPr>
      <dsp:spPr>
        <a:xfrm>
          <a:off x="0" y="1649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/>
            <a:t>On </a:t>
          </a:r>
          <a:r>
            <a:rPr lang="fr-FR" sz="3400" kern="1200" dirty="0" err="1" smtClean="0"/>
            <a:t>boarding</a:t>
          </a:r>
          <a:r>
            <a:rPr lang="fr-FR" sz="3400" kern="1200" dirty="0" smtClean="0"/>
            <a:t> Global</a:t>
          </a:r>
          <a:endParaRPr lang="fr-FR" sz="3400" kern="1200" dirty="0"/>
        </a:p>
      </dsp:txBody>
      <dsp:txXfrm>
        <a:off x="38838" y="55331"/>
        <a:ext cx="6526324" cy="717924"/>
      </dsp:txXfrm>
    </dsp:sp>
    <dsp:sp modelId="{1EBB08F3-201C-4862-960D-19A07B2FB714}">
      <dsp:nvSpPr>
        <dsp:cNvPr id="0" name=""/>
        <dsp:cNvSpPr/>
      </dsp:nvSpPr>
      <dsp:spPr>
        <a:xfrm>
          <a:off x="0" y="91001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/>
            <a:t>On </a:t>
          </a:r>
          <a:r>
            <a:rPr lang="fr-FR" sz="3400" kern="1200" dirty="0" err="1" smtClean="0"/>
            <a:t>boarding</a:t>
          </a:r>
          <a:r>
            <a:rPr lang="fr-FR" sz="3400" kern="1200" dirty="0" smtClean="0"/>
            <a:t> Mission</a:t>
          </a:r>
          <a:endParaRPr lang="fr-FR" sz="3400" kern="1200" dirty="0"/>
        </a:p>
      </dsp:txBody>
      <dsp:txXfrm>
        <a:off x="38838" y="948851"/>
        <a:ext cx="6526324" cy="717924"/>
      </dsp:txXfrm>
    </dsp:sp>
    <dsp:sp modelId="{7D22A68D-A3A3-4A1F-B053-A6808EDEFEA3}">
      <dsp:nvSpPr>
        <dsp:cNvPr id="0" name=""/>
        <dsp:cNvSpPr/>
      </dsp:nvSpPr>
      <dsp:spPr>
        <a:xfrm>
          <a:off x="0" y="180353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/>
            <a:t>Analyse</a:t>
          </a:r>
          <a:endParaRPr lang="fr-FR" sz="3400" kern="1200" dirty="0"/>
        </a:p>
      </dsp:txBody>
      <dsp:txXfrm>
        <a:off x="38838" y="1842371"/>
        <a:ext cx="6526324" cy="717924"/>
      </dsp:txXfrm>
    </dsp:sp>
    <dsp:sp modelId="{CD28C434-F152-45BD-B3C8-0F1F2221AFFD}">
      <dsp:nvSpPr>
        <dsp:cNvPr id="0" name=""/>
        <dsp:cNvSpPr/>
      </dsp:nvSpPr>
      <dsp:spPr>
        <a:xfrm>
          <a:off x="0" y="269705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/>
            <a:t>Optimisation</a:t>
          </a:r>
          <a:endParaRPr lang="fr-FR" sz="3400" kern="1200" dirty="0"/>
        </a:p>
      </dsp:txBody>
      <dsp:txXfrm>
        <a:off x="38838" y="2735891"/>
        <a:ext cx="6526324" cy="717924"/>
      </dsp:txXfrm>
    </dsp:sp>
    <dsp:sp modelId="{20945FA4-A1AF-4C1C-AE23-768B20420BEB}">
      <dsp:nvSpPr>
        <dsp:cNvPr id="0" name=""/>
        <dsp:cNvSpPr/>
      </dsp:nvSpPr>
      <dsp:spPr>
        <a:xfrm>
          <a:off x="0" y="3590573"/>
          <a:ext cx="6604000" cy="795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/>
            <a:t>Exécution</a:t>
          </a:r>
          <a:endParaRPr lang="fr-FR" sz="3400" kern="1200" dirty="0"/>
        </a:p>
      </dsp:txBody>
      <dsp:txXfrm>
        <a:off x="38838" y="3629411"/>
        <a:ext cx="6526324" cy="71792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4DA6DA-6B31-4B2A-B4A4-5C38DE5015D6}">
      <dsp:nvSpPr>
        <dsp:cNvPr id="0" name=""/>
        <dsp:cNvSpPr/>
      </dsp:nvSpPr>
      <dsp:spPr>
        <a:xfrm>
          <a:off x="3500461" y="1924443"/>
          <a:ext cx="1643074" cy="1268881"/>
        </a:xfrm>
        <a:prstGeom prst="ellipse">
          <a:avLst/>
        </a:prstGeom>
        <a:solidFill>
          <a:schemeClr val="tx2">
            <a:lumMod val="40000"/>
            <a:lumOff val="6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u="none" kern="1200" dirty="0" smtClean="0">
              <a:effectLst/>
            </a:rPr>
            <a:t>Gaspillages</a:t>
          </a:r>
          <a:endParaRPr lang="fr-FR" sz="1600" b="1" u="none" kern="1200" dirty="0">
            <a:effectLst/>
          </a:endParaRPr>
        </a:p>
      </dsp:txBody>
      <dsp:txXfrm>
        <a:off x="3741084" y="2110266"/>
        <a:ext cx="1161828" cy="897235"/>
      </dsp:txXfrm>
    </dsp:sp>
    <dsp:sp modelId="{CD3A20BE-2085-49F8-9E97-5E24C2B6C5C2}">
      <dsp:nvSpPr>
        <dsp:cNvPr id="0" name=""/>
        <dsp:cNvSpPr/>
      </dsp:nvSpPr>
      <dsp:spPr>
        <a:xfrm rot="16200000">
          <a:off x="4004484" y="1593717"/>
          <a:ext cx="635028" cy="26422"/>
        </a:xfrm>
        <a:custGeom>
          <a:avLst/>
          <a:gdLst/>
          <a:ahLst/>
          <a:cxnLst/>
          <a:rect l="0" t="0" r="0" b="0"/>
          <a:pathLst>
            <a:path>
              <a:moveTo>
                <a:pt x="0" y="13211"/>
              </a:moveTo>
              <a:lnTo>
                <a:pt x="635028" y="13211"/>
              </a:lnTo>
            </a:path>
          </a:pathLst>
        </a:cu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/>
        </a:p>
      </dsp:txBody>
      <dsp:txXfrm>
        <a:off x="4306123" y="1591053"/>
        <a:ext cx="31751" cy="31751"/>
      </dsp:txXfrm>
    </dsp:sp>
    <dsp:sp modelId="{451F130C-2D1D-40FF-A482-66BE91D291E9}">
      <dsp:nvSpPr>
        <dsp:cNvPr id="0" name=""/>
        <dsp:cNvSpPr/>
      </dsp:nvSpPr>
      <dsp:spPr>
        <a:xfrm>
          <a:off x="3687558" y="20533"/>
          <a:ext cx="1268881" cy="1268881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latin typeface="Book Antiqua" pitchFamily="18" charset="0"/>
            </a:rPr>
            <a:t>Sur production </a:t>
          </a:r>
          <a:endParaRPr lang="fr-FR" sz="1200" kern="1200" dirty="0"/>
        </a:p>
      </dsp:txBody>
      <dsp:txXfrm>
        <a:off x="3873381" y="206356"/>
        <a:ext cx="897235" cy="897235"/>
      </dsp:txXfrm>
    </dsp:sp>
    <dsp:sp modelId="{2E04BE8F-46E9-4786-AE43-2E42089C41DC}">
      <dsp:nvSpPr>
        <dsp:cNvPr id="0" name=""/>
        <dsp:cNvSpPr/>
      </dsp:nvSpPr>
      <dsp:spPr>
        <a:xfrm rot="19285714">
          <a:off x="4834769" y="1922039"/>
          <a:ext cx="538480" cy="26422"/>
        </a:xfrm>
        <a:custGeom>
          <a:avLst/>
          <a:gdLst/>
          <a:ahLst/>
          <a:cxnLst/>
          <a:rect l="0" t="0" r="0" b="0"/>
          <a:pathLst>
            <a:path>
              <a:moveTo>
                <a:pt x="0" y="13211"/>
              </a:moveTo>
              <a:lnTo>
                <a:pt x="538480" y="13211"/>
              </a:lnTo>
            </a:path>
          </a:pathLst>
        </a:cu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/>
        </a:p>
      </dsp:txBody>
      <dsp:txXfrm>
        <a:off x="5090547" y="1921789"/>
        <a:ext cx="26924" cy="26924"/>
      </dsp:txXfrm>
    </dsp:sp>
    <dsp:sp modelId="{F366D771-569D-47A4-A66B-3664D14BF770}">
      <dsp:nvSpPr>
        <dsp:cNvPr id="0" name=""/>
        <dsp:cNvSpPr/>
      </dsp:nvSpPr>
      <dsp:spPr>
        <a:xfrm>
          <a:off x="5176095" y="737374"/>
          <a:ext cx="1268881" cy="1268881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latin typeface="Book Antiqua" pitchFamily="18" charset="0"/>
            </a:rPr>
            <a:t>Stockage</a:t>
          </a:r>
          <a:endParaRPr lang="fr-FR" sz="1200" b="1" kern="1200" dirty="0"/>
        </a:p>
      </dsp:txBody>
      <dsp:txXfrm>
        <a:off x="5361918" y="923197"/>
        <a:ext cx="897235" cy="897235"/>
      </dsp:txXfrm>
    </dsp:sp>
    <dsp:sp modelId="{FABD862C-E996-4A51-9429-543304BBE3DE}">
      <dsp:nvSpPr>
        <dsp:cNvPr id="0" name=""/>
        <dsp:cNvSpPr/>
      </dsp:nvSpPr>
      <dsp:spPr>
        <a:xfrm rot="771429">
          <a:off x="5104063" y="2776825"/>
          <a:ext cx="461360" cy="26422"/>
        </a:xfrm>
        <a:custGeom>
          <a:avLst/>
          <a:gdLst/>
          <a:ahLst/>
          <a:cxnLst/>
          <a:rect l="0" t="0" r="0" b="0"/>
          <a:pathLst>
            <a:path>
              <a:moveTo>
                <a:pt x="0" y="13211"/>
              </a:moveTo>
              <a:lnTo>
                <a:pt x="461360" y="13211"/>
              </a:lnTo>
            </a:path>
          </a:pathLst>
        </a:cu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/>
        </a:p>
      </dsp:txBody>
      <dsp:txXfrm>
        <a:off x="5323209" y="2778502"/>
        <a:ext cx="23068" cy="23068"/>
      </dsp:txXfrm>
    </dsp:sp>
    <dsp:sp modelId="{D65672DC-3058-4939-84AE-B78E884B303A}">
      <dsp:nvSpPr>
        <dsp:cNvPr id="0" name=""/>
        <dsp:cNvSpPr/>
      </dsp:nvSpPr>
      <dsp:spPr>
        <a:xfrm>
          <a:off x="5543733" y="2348103"/>
          <a:ext cx="1268881" cy="1268881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smtClean="0">
              <a:latin typeface="Book Antiqua" pitchFamily="18" charset="0"/>
            </a:rPr>
            <a:t>Transport</a:t>
          </a:r>
          <a:endParaRPr lang="fr-FR" sz="1200" kern="1200" dirty="0"/>
        </a:p>
      </dsp:txBody>
      <dsp:txXfrm>
        <a:off x="5729556" y="2533926"/>
        <a:ext cx="897235" cy="897235"/>
      </dsp:txXfrm>
    </dsp:sp>
    <dsp:sp modelId="{DF7E948E-F621-46F4-A8A8-94C8A7507D91}">
      <dsp:nvSpPr>
        <dsp:cNvPr id="0" name=""/>
        <dsp:cNvSpPr/>
      </dsp:nvSpPr>
      <dsp:spPr>
        <a:xfrm rot="3857143">
          <a:off x="4436064" y="3414539"/>
          <a:ext cx="608718" cy="26422"/>
        </a:xfrm>
        <a:custGeom>
          <a:avLst/>
          <a:gdLst/>
          <a:ahLst/>
          <a:cxnLst/>
          <a:rect l="0" t="0" r="0" b="0"/>
          <a:pathLst>
            <a:path>
              <a:moveTo>
                <a:pt x="0" y="13211"/>
              </a:moveTo>
              <a:lnTo>
                <a:pt x="608718" y="13211"/>
              </a:lnTo>
            </a:path>
          </a:pathLst>
        </a:cu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/>
        </a:p>
      </dsp:txBody>
      <dsp:txXfrm>
        <a:off x="4725205" y="3412533"/>
        <a:ext cx="30435" cy="30435"/>
      </dsp:txXfrm>
    </dsp:sp>
    <dsp:sp modelId="{E700AD8B-4432-4FC3-AF9E-D55F05F77B27}">
      <dsp:nvSpPr>
        <dsp:cNvPr id="0" name=""/>
        <dsp:cNvSpPr/>
      </dsp:nvSpPr>
      <dsp:spPr>
        <a:xfrm>
          <a:off x="4509668" y="3639807"/>
          <a:ext cx="1276812" cy="1268881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50" b="1" kern="1200" dirty="0" smtClean="0">
              <a:latin typeface="Book Antiqua" pitchFamily="18" charset="0"/>
            </a:rPr>
            <a:t>Déplacement</a:t>
          </a:r>
          <a:r>
            <a:rPr lang="fr-FR" sz="1150" kern="1200" dirty="0" smtClean="0">
              <a:latin typeface="Book Antiqua" pitchFamily="18" charset="0"/>
            </a:rPr>
            <a:t> </a:t>
          </a:r>
          <a:endParaRPr lang="fr-FR" sz="1150" kern="1200" dirty="0"/>
        </a:p>
      </dsp:txBody>
      <dsp:txXfrm>
        <a:off x="4696653" y="3825630"/>
        <a:ext cx="902842" cy="897235"/>
      </dsp:txXfrm>
    </dsp:sp>
    <dsp:sp modelId="{676D1AC5-BC6A-4235-99D5-ADEEECF3FEAD}">
      <dsp:nvSpPr>
        <dsp:cNvPr id="0" name=""/>
        <dsp:cNvSpPr/>
      </dsp:nvSpPr>
      <dsp:spPr>
        <a:xfrm rot="6942857">
          <a:off x="3598684" y="3414873"/>
          <a:ext cx="609458" cy="26422"/>
        </a:xfrm>
        <a:custGeom>
          <a:avLst/>
          <a:gdLst/>
          <a:ahLst/>
          <a:cxnLst/>
          <a:rect l="0" t="0" r="0" b="0"/>
          <a:pathLst>
            <a:path>
              <a:moveTo>
                <a:pt x="0" y="13211"/>
              </a:moveTo>
              <a:lnTo>
                <a:pt x="609458" y="13211"/>
              </a:lnTo>
            </a:path>
          </a:pathLst>
        </a:cu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/>
        </a:p>
      </dsp:txBody>
      <dsp:txXfrm rot="10800000">
        <a:off x="3888177" y="3412848"/>
        <a:ext cx="30472" cy="30472"/>
      </dsp:txXfrm>
    </dsp:sp>
    <dsp:sp modelId="{4DD6D27E-422A-422E-B321-A803216979D7}">
      <dsp:nvSpPr>
        <dsp:cNvPr id="0" name=""/>
        <dsp:cNvSpPr/>
      </dsp:nvSpPr>
      <dsp:spPr>
        <a:xfrm>
          <a:off x="2861482" y="3639807"/>
          <a:ext cx="1268881" cy="1268881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latin typeface="Book Antiqua" pitchFamily="18" charset="0"/>
            </a:rPr>
            <a:t>Over </a:t>
          </a:r>
          <a:r>
            <a:rPr lang="fr-FR" sz="1200" b="1" kern="1200" dirty="0" err="1" smtClean="0">
              <a:latin typeface="Book Antiqua" pitchFamily="18" charset="0"/>
            </a:rPr>
            <a:t>processing</a:t>
          </a:r>
          <a:r>
            <a:rPr lang="fr-FR" sz="1200" b="1" kern="1200" dirty="0" smtClean="0">
              <a:latin typeface="Book Antiqua" pitchFamily="18" charset="0"/>
            </a:rPr>
            <a:t> </a:t>
          </a:r>
          <a:endParaRPr lang="fr-FR" sz="1200" kern="1200" dirty="0"/>
        </a:p>
      </dsp:txBody>
      <dsp:txXfrm>
        <a:off x="3047305" y="3825630"/>
        <a:ext cx="897235" cy="897235"/>
      </dsp:txXfrm>
    </dsp:sp>
    <dsp:sp modelId="{EF1F9A77-D873-4715-BD28-21D69B142239}">
      <dsp:nvSpPr>
        <dsp:cNvPr id="0" name=""/>
        <dsp:cNvSpPr/>
      </dsp:nvSpPr>
      <dsp:spPr>
        <a:xfrm rot="10028571">
          <a:off x="3078574" y="2776825"/>
          <a:ext cx="461360" cy="26422"/>
        </a:xfrm>
        <a:custGeom>
          <a:avLst/>
          <a:gdLst/>
          <a:ahLst/>
          <a:cxnLst/>
          <a:rect l="0" t="0" r="0" b="0"/>
          <a:pathLst>
            <a:path>
              <a:moveTo>
                <a:pt x="0" y="13211"/>
              </a:moveTo>
              <a:lnTo>
                <a:pt x="461360" y="13211"/>
              </a:lnTo>
            </a:path>
          </a:pathLst>
        </a:cu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/>
        </a:p>
      </dsp:txBody>
      <dsp:txXfrm rot="10800000">
        <a:off x="3297720" y="2778502"/>
        <a:ext cx="23068" cy="23068"/>
      </dsp:txXfrm>
    </dsp:sp>
    <dsp:sp modelId="{F4DD368C-E582-466A-969B-B4ABD9CDC2D7}">
      <dsp:nvSpPr>
        <dsp:cNvPr id="0" name=""/>
        <dsp:cNvSpPr/>
      </dsp:nvSpPr>
      <dsp:spPr>
        <a:xfrm>
          <a:off x="1831382" y="2348103"/>
          <a:ext cx="1268881" cy="1268881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smtClean="0">
              <a:latin typeface="Book Antiqua" pitchFamily="18" charset="0"/>
            </a:rPr>
            <a:t>Attente</a:t>
          </a:r>
          <a:endParaRPr lang="fr-FR" sz="1200" kern="1200" dirty="0"/>
        </a:p>
      </dsp:txBody>
      <dsp:txXfrm>
        <a:off x="2017205" y="2533926"/>
        <a:ext cx="897235" cy="897235"/>
      </dsp:txXfrm>
    </dsp:sp>
    <dsp:sp modelId="{6C300E62-8661-45A4-970F-FFCDD82FF834}">
      <dsp:nvSpPr>
        <dsp:cNvPr id="0" name=""/>
        <dsp:cNvSpPr/>
      </dsp:nvSpPr>
      <dsp:spPr>
        <a:xfrm rot="13114286">
          <a:off x="3270747" y="1922039"/>
          <a:ext cx="538480" cy="26422"/>
        </a:xfrm>
        <a:custGeom>
          <a:avLst/>
          <a:gdLst/>
          <a:ahLst/>
          <a:cxnLst/>
          <a:rect l="0" t="0" r="0" b="0"/>
          <a:pathLst>
            <a:path>
              <a:moveTo>
                <a:pt x="0" y="13211"/>
              </a:moveTo>
              <a:lnTo>
                <a:pt x="538480" y="13211"/>
              </a:lnTo>
            </a:path>
          </a:pathLst>
        </a:cu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/>
        </a:p>
      </dsp:txBody>
      <dsp:txXfrm rot="10800000">
        <a:off x="3526526" y="1921789"/>
        <a:ext cx="26924" cy="26924"/>
      </dsp:txXfrm>
    </dsp:sp>
    <dsp:sp modelId="{C697181E-1AB5-437B-B70B-70338C41DE8E}">
      <dsp:nvSpPr>
        <dsp:cNvPr id="0" name=""/>
        <dsp:cNvSpPr/>
      </dsp:nvSpPr>
      <dsp:spPr>
        <a:xfrm>
          <a:off x="2199021" y="737374"/>
          <a:ext cx="1268881" cy="1268881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smtClean="0">
              <a:latin typeface="Book Antiqua" pitchFamily="18" charset="0"/>
            </a:rPr>
            <a:t>Redondance</a:t>
          </a:r>
          <a:endParaRPr lang="fr-FR" sz="1200" kern="1200" dirty="0"/>
        </a:p>
      </dsp:txBody>
      <dsp:txXfrm>
        <a:off x="2384844" y="923197"/>
        <a:ext cx="897235" cy="89723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7013FA-A148-4D19-BE1B-2F2F88FA54F9}">
      <dsp:nvSpPr>
        <dsp:cNvPr id="0" name=""/>
        <dsp:cNvSpPr/>
      </dsp:nvSpPr>
      <dsp:spPr>
        <a:xfrm>
          <a:off x="833097" y="117271"/>
          <a:ext cx="2327397" cy="808274"/>
        </a:xfrm>
        <a:prstGeom prst="ellipse">
          <a:avLst/>
        </a:prstGeom>
        <a:solidFill>
          <a:schemeClr val="accent5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C3E120-4AC8-4566-9207-6930DBF02D61}">
      <dsp:nvSpPr>
        <dsp:cNvPr id="0" name=""/>
        <dsp:cNvSpPr/>
      </dsp:nvSpPr>
      <dsp:spPr>
        <a:xfrm>
          <a:off x="1774881" y="2096462"/>
          <a:ext cx="451046" cy="288669"/>
        </a:xfrm>
        <a:prstGeom prst="downArrow">
          <a:avLst/>
        </a:prstGeom>
        <a:gradFill rotWithShape="0">
          <a:gsLst>
            <a:gs pos="0">
              <a:schemeClr val="accent5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CE42FD63-E09A-405B-AC36-EB1A13ED6251}">
      <dsp:nvSpPr>
        <dsp:cNvPr id="0" name=""/>
        <dsp:cNvSpPr/>
      </dsp:nvSpPr>
      <dsp:spPr>
        <a:xfrm>
          <a:off x="917894" y="2327397"/>
          <a:ext cx="2165021" cy="5412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900" kern="1200"/>
            <a:t>OutPut</a:t>
          </a:r>
        </a:p>
      </dsp:txBody>
      <dsp:txXfrm>
        <a:off x="917894" y="2327397"/>
        <a:ext cx="2165021" cy="541255"/>
      </dsp:txXfrm>
    </dsp:sp>
    <dsp:sp modelId="{C3401FEF-B925-4B04-946A-EC27F499006B}">
      <dsp:nvSpPr>
        <dsp:cNvPr id="0" name=""/>
        <dsp:cNvSpPr/>
      </dsp:nvSpPr>
      <dsp:spPr>
        <a:xfrm>
          <a:off x="1679260" y="987971"/>
          <a:ext cx="811882" cy="811882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/>
            <a:t>Input</a:t>
          </a:r>
        </a:p>
      </dsp:txBody>
      <dsp:txXfrm>
        <a:off x="1798157" y="1106868"/>
        <a:ext cx="574088" cy="574088"/>
      </dsp:txXfrm>
    </dsp:sp>
    <dsp:sp modelId="{F09A4015-4ADF-4A9E-9976-4F757DB6458A}">
      <dsp:nvSpPr>
        <dsp:cNvPr id="0" name=""/>
        <dsp:cNvSpPr/>
      </dsp:nvSpPr>
      <dsp:spPr>
        <a:xfrm>
          <a:off x="1098312" y="378878"/>
          <a:ext cx="811882" cy="811882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Input</a:t>
          </a:r>
          <a:endParaRPr lang="fr-FR" sz="1800" kern="1200" dirty="0"/>
        </a:p>
      </dsp:txBody>
      <dsp:txXfrm>
        <a:off x="1217209" y="497775"/>
        <a:ext cx="574088" cy="574088"/>
      </dsp:txXfrm>
    </dsp:sp>
    <dsp:sp modelId="{F7BC115F-0048-4A26-B07C-DB16093631CE}">
      <dsp:nvSpPr>
        <dsp:cNvPr id="0" name=""/>
        <dsp:cNvSpPr/>
      </dsp:nvSpPr>
      <dsp:spPr>
        <a:xfrm>
          <a:off x="1928237" y="182583"/>
          <a:ext cx="811882" cy="811882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/>
            <a:t>Input</a:t>
          </a:r>
          <a:endParaRPr lang="fr-FR" sz="1800" kern="1200" dirty="0"/>
        </a:p>
      </dsp:txBody>
      <dsp:txXfrm>
        <a:off x="2047134" y="301480"/>
        <a:ext cx="574088" cy="574088"/>
      </dsp:txXfrm>
    </dsp:sp>
    <dsp:sp modelId="{A9E41946-ED5F-44EC-B9FD-926734FD52E7}">
      <dsp:nvSpPr>
        <dsp:cNvPr id="0" name=""/>
        <dsp:cNvSpPr/>
      </dsp:nvSpPr>
      <dsp:spPr>
        <a:xfrm>
          <a:off x="737475" y="18041"/>
          <a:ext cx="2525858" cy="2020686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193D30-A86F-428E-B186-7F774C675315}">
      <dsp:nvSpPr>
        <dsp:cNvPr id="0" name=""/>
        <dsp:cNvSpPr/>
      </dsp:nvSpPr>
      <dsp:spPr>
        <a:xfrm>
          <a:off x="0" y="30581"/>
          <a:ext cx="5373702" cy="3837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/>
            <a:t>Conception</a:t>
          </a:r>
          <a:endParaRPr lang="fr-FR" sz="1600" b="1" kern="1200" dirty="0"/>
        </a:p>
      </dsp:txBody>
      <dsp:txXfrm>
        <a:off x="18734" y="49315"/>
        <a:ext cx="5336234" cy="346292"/>
      </dsp:txXfrm>
    </dsp:sp>
    <dsp:sp modelId="{1EBB08F3-201C-4862-960D-19A07B2FB714}">
      <dsp:nvSpPr>
        <dsp:cNvPr id="0" name=""/>
        <dsp:cNvSpPr/>
      </dsp:nvSpPr>
      <dsp:spPr>
        <a:xfrm>
          <a:off x="0" y="470372"/>
          <a:ext cx="5373702" cy="3744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err="1" smtClean="0"/>
            <a:t>CoTec</a:t>
          </a:r>
          <a:endParaRPr lang="fr-FR" sz="1600" b="1" kern="1200" dirty="0"/>
        </a:p>
      </dsp:txBody>
      <dsp:txXfrm>
        <a:off x="18277" y="488649"/>
        <a:ext cx="5337148" cy="337846"/>
      </dsp:txXfrm>
    </dsp:sp>
    <dsp:sp modelId="{F44D5F85-C32B-40C1-80F6-450B3192A5F9}">
      <dsp:nvSpPr>
        <dsp:cNvPr id="0" name=""/>
        <dsp:cNvSpPr/>
      </dsp:nvSpPr>
      <dsp:spPr>
        <a:xfrm>
          <a:off x="0" y="902800"/>
          <a:ext cx="5373702" cy="3744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err="1" smtClean="0"/>
            <a:t>DocT</a:t>
          </a:r>
          <a:r>
            <a:rPr lang="fr-FR" sz="1600" b="1" kern="1200" dirty="0" smtClean="0"/>
            <a:t> </a:t>
          </a:r>
          <a:r>
            <a:rPr lang="fr-FR" sz="1600" b="1" kern="1200" dirty="0" smtClean="0">
              <a:sym typeface="Wingdings" pitchFamily="2" charset="2"/>
            </a:rPr>
            <a:t> </a:t>
          </a:r>
          <a:r>
            <a:rPr lang="fr-FR" sz="1600" b="1" kern="1200" dirty="0" smtClean="0"/>
            <a:t>Code Source Java </a:t>
          </a:r>
          <a:endParaRPr lang="fr-FR" sz="1600" b="1" kern="1200" dirty="0"/>
        </a:p>
      </dsp:txBody>
      <dsp:txXfrm>
        <a:off x="18277" y="921077"/>
        <a:ext cx="5337148" cy="33784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193D30-A86F-428E-B186-7F774C675315}">
      <dsp:nvSpPr>
        <dsp:cNvPr id="0" name=""/>
        <dsp:cNvSpPr/>
      </dsp:nvSpPr>
      <dsp:spPr>
        <a:xfrm>
          <a:off x="0" y="71436"/>
          <a:ext cx="5373702" cy="428631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err="1" smtClean="0"/>
            <a:t>Référenciel</a:t>
          </a:r>
          <a:r>
            <a:rPr lang="fr-FR" sz="1800" b="1" kern="1200" dirty="0" smtClean="0"/>
            <a:t> qualité</a:t>
          </a:r>
          <a:endParaRPr lang="fr-FR" sz="1800" b="1" kern="1200" dirty="0"/>
        </a:p>
      </dsp:txBody>
      <dsp:txXfrm>
        <a:off x="20924" y="92360"/>
        <a:ext cx="5331854" cy="38678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193D30-A86F-428E-B186-7F774C675315}">
      <dsp:nvSpPr>
        <dsp:cNvPr id="0" name=""/>
        <dsp:cNvSpPr/>
      </dsp:nvSpPr>
      <dsp:spPr>
        <a:xfrm>
          <a:off x="0" y="90026"/>
          <a:ext cx="5373702" cy="52767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200" b="1" kern="1200" dirty="0" smtClean="0"/>
            <a:t>Outils contrôle qualité	</a:t>
          </a:r>
          <a:endParaRPr lang="fr-FR" sz="2200" b="1" kern="1200" dirty="0"/>
        </a:p>
      </dsp:txBody>
      <dsp:txXfrm>
        <a:off x="25759" y="115785"/>
        <a:ext cx="5322184" cy="476152"/>
      </dsp:txXfrm>
    </dsp:sp>
    <dsp:sp modelId="{1EBB08F3-201C-4862-960D-19A07B2FB714}">
      <dsp:nvSpPr>
        <dsp:cNvPr id="0" name=""/>
        <dsp:cNvSpPr/>
      </dsp:nvSpPr>
      <dsp:spPr>
        <a:xfrm>
          <a:off x="0" y="694738"/>
          <a:ext cx="5373702" cy="5148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200" b="1" kern="1200" dirty="0" smtClean="0"/>
            <a:t>Gestion Electronique des Documents</a:t>
          </a:r>
          <a:endParaRPr lang="fr-FR" sz="2200" b="1" kern="1200" dirty="0"/>
        </a:p>
      </dsp:txBody>
      <dsp:txXfrm>
        <a:off x="25130" y="719868"/>
        <a:ext cx="5323442" cy="46454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74ED47-976F-4CAE-BA93-8465DA052279}">
      <dsp:nvSpPr>
        <dsp:cNvPr id="0" name=""/>
        <dsp:cNvSpPr/>
      </dsp:nvSpPr>
      <dsp:spPr>
        <a:xfrm>
          <a:off x="2302633" y="1527"/>
          <a:ext cx="1861399" cy="9306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shade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shade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shade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 smtClean="0"/>
            <a:t>Batch </a:t>
          </a:r>
          <a:endParaRPr lang="fr-FR" sz="2300" kern="1200" dirty="0"/>
        </a:p>
      </dsp:txBody>
      <dsp:txXfrm>
        <a:off x="2329892" y="28786"/>
        <a:ext cx="1806881" cy="876181"/>
      </dsp:txXfrm>
    </dsp:sp>
    <dsp:sp modelId="{998CF0ED-649C-47F3-9927-A053A8C3D347}">
      <dsp:nvSpPr>
        <dsp:cNvPr id="0" name=""/>
        <dsp:cNvSpPr/>
      </dsp:nvSpPr>
      <dsp:spPr>
        <a:xfrm>
          <a:off x="2302633" y="1071832"/>
          <a:ext cx="1861399" cy="9306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shade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shade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shade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 smtClean="0"/>
            <a:t>IHM </a:t>
          </a:r>
          <a:endParaRPr lang="fr-FR" sz="2300" kern="1200" dirty="0"/>
        </a:p>
      </dsp:txBody>
      <dsp:txXfrm>
        <a:off x="2329892" y="1099091"/>
        <a:ext cx="1806881" cy="876181"/>
      </dsp:txXfrm>
    </dsp:sp>
    <dsp:sp modelId="{B6953B44-1D31-4354-979A-D96AB9394413}">
      <dsp:nvSpPr>
        <dsp:cNvPr id="0" name=""/>
        <dsp:cNvSpPr/>
      </dsp:nvSpPr>
      <dsp:spPr>
        <a:xfrm>
          <a:off x="2302633" y="2142137"/>
          <a:ext cx="1861399" cy="9306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shade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shade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shade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 smtClean="0"/>
            <a:t>Service</a:t>
          </a:r>
          <a:endParaRPr lang="fr-FR" sz="2300" kern="1200" dirty="0"/>
        </a:p>
      </dsp:txBody>
      <dsp:txXfrm>
        <a:off x="2329892" y="2169396"/>
        <a:ext cx="1806881" cy="876181"/>
      </dsp:txXfrm>
    </dsp:sp>
    <dsp:sp modelId="{7DD97C5E-36EF-4727-88E7-00844D9386CA}">
      <dsp:nvSpPr>
        <dsp:cNvPr id="0" name=""/>
        <dsp:cNvSpPr/>
      </dsp:nvSpPr>
      <dsp:spPr>
        <a:xfrm rot="17350740">
          <a:off x="3403112" y="1521120"/>
          <a:ext cx="2266401" cy="32124"/>
        </a:xfrm>
        <a:custGeom>
          <a:avLst/>
          <a:gdLst/>
          <a:ahLst/>
          <a:cxnLst/>
          <a:rect l="0" t="0" r="0" b="0"/>
          <a:pathLst>
            <a:path>
              <a:moveTo>
                <a:pt x="0" y="16062"/>
              </a:moveTo>
              <a:lnTo>
                <a:pt x="2266401" y="16062"/>
              </a:lnTo>
            </a:path>
          </a:pathLst>
        </a:custGeom>
        <a:noFill/>
        <a:ln w="38100" cap="flat" cmpd="sng" algn="ctr">
          <a:solidFill>
            <a:schemeClr val="accent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3">
          <a:schemeClr val="accent5"/>
        </a:lnRef>
        <a:fillRef idx="0">
          <a:schemeClr val="accent5"/>
        </a:fillRef>
        <a:effectRef idx="2">
          <a:schemeClr val="accent5"/>
        </a:effectRef>
        <a:fontRef idx="minor">
          <a:schemeClr val="tx1"/>
        </a:fontRef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800" kern="1200"/>
        </a:p>
      </dsp:txBody>
      <dsp:txXfrm>
        <a:off x="4479652" y="1480522"/>
        <a:ext cx="113320" cy="113320"/>
      </dsp:txXfrm>
    </dsp:sp>
    <dsp:sp modelId="{66E71113-9C82-4376-84CC-1759C2D15286}">
      <dsp:nvSpPr>
        <dsp:cNvPr id="0" name=""/>
        <dsp:cNvSpPr/>
      </dsp:nvSpPr>
      <dsp:spPr>
        <a:xfrm>
          <a:off x="4908592" y="1527"/>
          <a:ext cx="1861399" cy="9306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shade val="8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shade val="8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shade val="8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 smtClean="0"/>
            <a:t>Valorisation</a:t>
          </a:r>
          <a:endParaRPr lang="fr-FR" sz="2300" kern="1200" dirty="0"/>
        </a:p>
      </dsp:txBody>
      <dsp:txXfrm>
        <a:off x="4935851" y="28786"/>
        <a:ext cx="1806881" cy="876181"/>
      </dsp:txXfrm>
    </dsp:sp>
    <dsp:sp modelId="{5AE4015D-877E-472F-9783-82E19B040C1B}">
      <dsp:nvSpPr>
        <dsp:cNvPr id="0" name=""/>
        <dsp:cNvSpPr/>
      </dsp:nvSpPr>
      <dsp:spPr>
        <a:xfrm rot="18289469">
          <a:off x="3884407" y="2056272"/>
          <a:ext cx="1303810" cy="32124"/>
        </a:xfrm>
        <a:custGeom>
          <a:avLst/>
          <a:gdLst/>
          <a:ahLst/>
          <a:cxnLst/>
          <a:rect l="0" t="0" r="0" b="0"/>
          <a:pathLst>
            <a:path>
              <a:moveTo>
                <a:pt x="0" y="16062"/>
              </a:moveTo>
              <a:lnTo>
                <a:pt x="1303810" y="16062"/>
              </a:lnTo>
            </a:path>
          </a:pathLst>
        </a:custGeom>
        <a:noFill/>
        <a:ln w="38100" cap="flat" cmpd="sng" algn="ctr">
          <a:solidFill>
            <a:schemeClr val="accent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3">
          <a:schemeClr val="accent5"/>
        </a:lnRef>
        <a:fillRef idx="0">
          <a:schemeClr val="accent5"/>
        </a:fillRef>
        <a:effectRef idx="2">
          <a:schemeClr val="accent5"/>
        </a:effectRef>
        <a:fontRef idx="minor">
          <a:schemeClr val="tx1"/>
        </a:fontRef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4503717" y="2039739"/>
        <a:ext cx="65190" cy="65190"/>
      </dsp:txXfrm>
    </dsp:sp>
    <dsp:sp modelId="{5AC6AF2C-E872-4132-82D8-CEFD3B5C760B}">
      <dsp:nvSpPr>
        <dsp:cNvPr id="0" name=""/>
        <dsp:cNvSpPr/>
      </dsp:nvSpPr>
      <dsp:spPr>
        <a:xfrm>
          <a:off x="4908592" y="1071832"/>
          <a:ext cx="1861399" cy="9306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shade val="8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shade val="8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shade val="8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 smtClean="0"/>
            <a:t>Dispatcher</a:t>
          </a:r>
          <a:endParaRPr lang="fr-FR" sz="2300" kern="1200" dirty="0"/>
        </a:p>
      </dsp:txBody>
      <dsp:txXfrm>
        <a:off x="4935851" y="1099091"/>
        <a:ext cx="1806881" cy="876181"/>
      </dsp:txXfrm>
    </dsp:sp>
    <dsp:sp modelId="{3C9015F1-BF9C-4080-AEC6-56BDD76A5A49}">
      <dsp:nvSpPr>
        <dsp:cNvPr id="0" name=""/>
        <dsp:cNvSpPr/>
      </dsp:nvSpPr>
      <dsp:spPr>
        <a:xfrm>
          <a:off x="4164033" y="2591424"/>
          <a:ext cx="744559" cy="32124"/>
        </a:xfrm>
        <a:custGeom>
          <a:avLst/>
          <a:gdLst/>
          <a:ahLst/>
          <a:cxnLst/>
          <a:rect l="0" t="0" r="0" b="0"/>
          <a:pathLst>
            <a:path>
              <a:moveTo>
                <a:pt x="0" y="16062"/>
              </a:moveTo>
              <a:lnTo>
                <a:pt x="744559" y="16062"/>
              </a:lnTo>
            </a:path>
          </a:pathLst>
        </a:custGeom>
        <a:noFill/>
        <a:ln w="38100" cap="flat" cmpd="sng" algn="ctr">
          <a:solidFill>
            <a:schemeClr val="accent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3">
          <a:schemeClr val="accent5"/>
        </a:lnRef>
        <a:fillRef idx="0">
          <a:schemeClr val="accent5"/>
        </a:fillRef>
        <a:effectRef idx="2">
          <a:schemeClr val="accent5"/>
        </a:effectRef>
        <a:fontRef idx="minor">
          <a:schemeClr val="tx1"/>
        </a:fontRef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4517699" y="2588873"/>
        <a:ext cx="37227" cy="37227"/>
      </dsp:txXfrm>
    </dsp:sp>
    <dsp:sp modelId="{E3F83235-D2AE-4B78-814C-60208A067EA7}">
      <dsp:nvSpPr>
        <dsp:cNvPr id="0" name=""/>
        <dsp:cNvSpPr/>
      </dsp:nvSpPr>
      <dsp:spPr>
        <a:xfrm>
          <a:off x="4908592" y="2142137"/>
          <a:ext cx="1861399" cy="9306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shade val="8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shade val="8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shade val="8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 smtClean="0"/>
            <a:t>Fourniture </a:t>
          </a:r>
          <a:endParaRPr lang="fr-FR" sz="2300" kern="1200" dirty="0"/>
        </a:p>
      </dsp:txBody>
      <dsp:txXfrm>
        <a:off x="4935851" y="2169396"/>
        <a:ext cx="1806881" cy="876181"/>
      </dsp:txXfrm>
    </dsp:sp>
    <dsp:sp modelId="{6624AA0A-3828-48FC-A29C-1D06D39C6445}">
      <dsp:nvSpPr>
        <dsp:cNvPr id="0" name=""/>
        <dsp:cNvSpPr/>
      </dsp:nvSpPr>
      <dsp:spPr>
        <a:xfrm rot="3310531">
          <a:off x="3884407" y="3126577"/>
          <a:ext cx="1303810" cy="32124"/>
        </a:xfrm>
        <a:custGeom>
          <a:avLst/>
          <a:gdLst/>
          <a:ahLst/>
          <a:cxnLst/>
          <a:rect l="0" t="0" r="0" b="0"/>
          <a:pathLst>
            <a:path>
              <a:moveTo>
                <a:pt x="0" y="16062"/>
              </a:moveTo>
              <a:lnTo>
                <a:pt x="1303810" y="16062"/>
              </a:lnTo>
            </a:path>
          </a:pathLst>
        </a:custGeom>
        <a:noFill/>
        <a:ln w="38100" cap="flat" cmpd="sng" algn="ctr">
          <a:solidFill>
            <a:schemeClr val="accent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3">
          <a:schemeClr val="accent5"/>
        </a:lnRef>
        <a:fillRef idx="0">
          <a:schemeClr val="accent5"/>
        </a:fillRef>
        <a:effectRef idx="2">
          <a:schemeClr val="accent5"/>
        </a:effectRef>
        <a:fontRef idx="minor">
          <a:schemeClr val="tx1"/>
        </a:fontRef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4503717" y="3110044"/>
        <a:ext cx="65190" cy="65190"/>
      </dsp:txXfrm>
    </dsp:sp>
    <dsp:sp modelId="{EB50404B-6C8D-41C5-93AA-C866C4CCCEC0}">
      <dsp:nvSpPr>
        <dsp:cNvPr id="0" name=""/>
        <dsp:cNvSpPr/>
      </dsp:nvSpPr>
      <dsp:spPr>
        <a:xfrm>
          <a:off x="4908592" y="3212441"/>
          <a:ext cx="1861399" cy="9306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shade val="8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shade val="8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shade val="8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 smtClean="0"/>
            <a:t>Notification</a:t>
          </a:r>
          <a:endParaRPr lang="fr-FR" sz="2300" kern="1200" dirty="0"/>
        </a:p>
      </dsp:txBody>
      <dsp:txXfrm>
        <a:off x="4935851" y="3239700"/>
        <a:ext cx="1806881" cy="876181"/>
      </dsp:txXfrm>
    </dsp:sp>
    <dsp:sp modelId="{B259068E-B6C1-405D-953F-6AF127109A86}">
      <dsp:nvSpPr>
        <dsp:cNvPr id="0" name=""/>
        <dsp:cNvSpPr/>
      </dsp:nvSpPr>
      <dsp:spPr>
        <a:xfrm rot="4249260">
          <a:off x="3403112" y="3661729"/>
          <a:ext cx="2266401" cy="32124"/>
        </a:xfrm>
        <a:custGeom>
          <a:avLst/>
          <a:gdLst/>
          <a:ahLst/>
          <a:cxnLst/>
          <a:rect l="0" t="0" r="0" b="0"/>
          <a:pathLst>
            <a:path>
              <a:moveTo>
                <a:pt x="0" y="16062"/>
              </a:moveTo>
              <a:lnTo>
                <a:pt x="2266401" y="16062"/>
              </a:lnTo>
            </a:path>
          </a:pathLst>
        </a:custGeom>
        <a:noFill/>
        <a:ln w="38100" cap="flat" cmpd="sng" algn="ctr">
          <a:solidFill>
            <a:schemeClr val="accent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3">
          <a:schemeClr val="accent5"/>
        </a:lnRef>
        <a:fillRef idx="0">
          <a:schemeClr val="accent5"/>
        </a:fillRef>
        <a:effectRef idx="2">
          <a:schemeClr val="accent5"/>
        </a:effectRef>
        <a:fontRef idx="minor">
          <a:schemeClr val="tx1"/>
        </a:fontRef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800" kern="1200"/>
        </a:p>
      </dsp:txBody>
      <dsp:txXfrm>
        <a:off x="4479652" y="3621131"/>
        <a:ext cx="113320" cy="113320"/>
      </dsp:txXfrm>
    </dsp:sp>
    <dsp:sp modelId="{C873101E-BE62-48C2-8C51-B551C6AE5771}">
      <dsp:nvSpPr>
        <dsp:cNvPr id="0" name=""/>
        <dsp:cNvSpPr/>
      </dsp:nvSpPr>
      <dsp:spPr>
        <a:xfrm>
          <a:off x="4908592" y="4282746"/>
          <a:ext cx="1861399" cy="9306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shade val="8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shade val="8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shade val="8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 smtClean="0"/>
            <a:t>SAP</a:t>
          </a:r>
          <a:endParaRPr lang="fr-FR" sz="2300" kern="1200" dirty="0"/>
        </a:p>
      </dsp:txBody>
      <dsp:txXfrm>
        <a:off x="4935851" y="4310005"/>
        <a:ext cx="1806881" cy="876181"/>
      </dsp:txXfrm>
    </dsp:sp>
    <dsp:sp modelId="{743C0396-A006-4AFA-A8A7-1EA7B3CDAA0D}">
      <dsp:nvSpPr>
        <dsp:cNvPr id="0" name=""/>
        <dsp:cNvSpPr/>
      </dsp:nvSpPr>
      <dsp:spPr>
        <a:xfrm>
          <a:off x="2302633" y="3212441"/>
          <a:ext cx="1861399" cy="9306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shade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shade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shade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300" kern="1200" dirty="0" smtClean="0"/>
            <a:t>Configuration</a:t>
          </a:r>
          <a:endParaRPr lang="fr-FR" sz="2300" kern="1200" dirty="0"/>
        </a:p>
      </dsp:txBody>
      <dsp:txXfrm>
        <a:off x="2329892" y="3239700"/>
        <a:ext cx="1806881" cy="8761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0 </a:t>
            </a:r>
            <a:r>
              <a:rPr lang="en-US" sz="800" dirty="0" err="1" smtClean="0"/>
              <a:t>Capgemini</a:t>
            </a:r>
            <a:r>
              <a:rPr lang="en-US" sz="800" dirty="0" smtClean="0"/>
              <a:t>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N°›</a:t>
            </a:fld>
            <a:endParaRPr lang="en-US" sz="800" b="1" smtClean="0"/>
          </a:p>
        </p:txBody>
      </p:sp>
    </p:spTree>
    <p:extLst>
      <p:ext uri="{BB962C8B-B14F-4D97-AF65-F5344CB8AC3E}">
        <p14:creationId xmlns:p14="http://schemas.microsoft.com/office/powerpoint/2010/main" val="372727768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400" y="571500"/>
            <a:ext cx="5283200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290" y="4343400"/>
            <a:ext cx="6429420" cy="4229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7442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fr.wikipedia.org/wiki/Kaizen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fr.wikipedia.org/wiki/Efficience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fr.wikipedia.org/wiki/Efficacit%C3%A9" TargetMode="Externa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NPE 241 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2268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9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Le Lean management est une approche systémique permettant de tendre vers l'excellence opérationnelle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Lean Management est fondé sur la stratégie des petits pas, aussi appelée </a:t>
            </a:r>
            <a:r>
              <a:rPr lang="fr-FR" sz="1200" b="0" i="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Kaizen"/>
              </a:rPr>
              <a:t>KAIZEN</a:t>
            </a:r>
            <a:r>
              <a:rPr lang="fr-FR" dirty="0" smtClean="0"/>
              <a:t/>
            </a:r>
            <a:br>
              <a:rPr lang="fr-FR" dirty="0" smtClean="0"/>
            </a:br>
            <a:endParaRPr lang="fr-FR" dirty="0" smtClean="0"/>
          </a:p>
          <a:p>
            <a:r>
              <a:rPr lang="fr-FR" dirty="0" err="1" smtClean="0"/>
              <a:t>Référenciel</a:t>
            </a:r>
            <a:r>
              <a:rPr lang="fr-FR" dirty="0" smtClean="0"/>
              <a:t> </a:t>
            </a:r>
            <a:r>
              <a:rPr lang="fr-FR" dirty="0" err="1" smtClean="0"/>
              <a:t>implementé</a:t>
            </a:r>
            <a:r>
              <a:rPr lang="fr-FR" dirty="0" smtClean="0"/>
              <a:t> a </a:t>
            </a:r>
            <a:r>
              <a:rPr lang="fr-FR" dirty="0" err="1" smtClean="0"/>
              <a:t>capgemini</a:t>
            </a:r>
            <a:r>
              <a:rPr lang="fr-FR" dirty="0" smtClean="0"/>
              <a:t> et au</a:t>
            </a:r>
            <a:r>
              <a:rPr lang="fr-FR" baseline="0" dirty="0" smtClean="0"/>
              <a:t> Projet SNCF </a:t>
            </a:r>
          </a:p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20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21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err="1" smtClean="0"/>
              <a:t>Cotoyer</a:t>
            </a:r>
            <a:r>
              <a:rPr lang="fr-FR" dirty="0" smtClean="0"/>
              <a:t> de </a:t>
            </a:r>
            <a:r>
              <a:rPr lang="fr-FR" dirty="0" err="1" smtClean="0"/>
              <a:t>prét</a:t>
            </a:r>
            <a:r>
              <a:rPr lang="fr-FR" dirty="0" smtClean="0"/>
              <a:t> les Daily </a:t>
            </a:r>
            <a:r>
              <a:rPr lang="fr-FR" dirty="0" err="1" smtClean="0"/>
              <a:t>meething</a:t>
            </a:r>
            <a:r>
              <a:rPr lang="fr-FR" dirty="0" smtClean="0"/>
              <a:t> &amp; management visuel KPI</a:t>
            </a:r>
            <a:r>
              <a:rPr lang="fr-FR" baseline="0" dirty="0" smtClean="0"/>
              <a:t> 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22</a:t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'</a:t>
            </a:r>
            <a:r>
              <a:rPr lang="fr-FR" sz="12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fficience</a:t>
            </a:r>
            <a:r>
              <a:rPr lang="fr-FR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est l'optimisation des moyens mis en </a:t>
            </a:r>
            <a:r>
              <a:rPr lang="fr-FR" sz="1200" b="0" i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euvre</a:t>
            </a:r>
            <a:r>
              <a:rPr lang="fr-FR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our parvenir à un objectif</a:t>
            </a:r>
            <a:r>
              <a:rPr lang="fr-FR" sz="1200" b="0" i="0" u="none" strike="noStrike" kern="1200" baseline="300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3"/>
              </a:rPr>
              <a:t>1</a:t>
            </a:r>
            <a:r>
              <a:rPr lang="fr-FR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Elle se mesure sous la forme d'un ratio entre les résultats obtenus et les ressources utilisées</a:t>
            </a:r>
            <a:r>
              <a:rPr lang="fr-FR" sz="1200" b="0" i="0" u="none" strike="noStrike" kern="1200" baseline="300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3"/>
              </a:rPr>
              <a:t>2</a:t>
            </a:r>
            <a:r>
              <a:rPr lang="fr-FR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Il faut la distinguer de l'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4" tooltip="Efficacité"/>
              </a:rPr>
              <a:t>efficacité</a:t>
            </a:r>
            <a:r>
              <a:rPr lang="fr-FR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qui est le ratio entre les résultats obtenus et les objectif fixés,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En </a:t>
            </a:r>
            <a:r>
              <a:rPr lang="fr-FR" dirty="0" err="1" smtClean="0"/>
              <a:t>matiere</a:t>
            </a:r>
            <a:r>
              <a:rPr lang="fr-FR" dirty="0" smtClean="0"/>
              <a:t> de cycle de vie du </a:t>
            </a:r>
            <a:r>
              <a:rPr lang="fr-FR" baseline="0" dirty="0" smtClean="0"/>
              <a:t>projet l’</a:t>
            </a:r>
            <a:r>
              <a:rPr lang="fr-FR" baseline="0" dirty="0" err="1" smtClean="0"/>
              <a:t>equipe</a:t>
            </a:r>
            <a:r>
              <a:rPr lang="fr-FR" baseline="0" dirty="0" smtClean="0"/>
              <a:t> SNCF Fret a choisi un cycle en V … Pour ce qui est du projet on a suivi la </a:t>
            </a:r>
            <a:r>
              <a:rPr lang="fr-FR" baseline="0" dirty="0" err="1" smtClean="0"/>
              <a:t>meme</a:t>
            </a:r>
            <a:r>
              <a:rPr lang="fr-FR" baseline="0" dirty="0" smtClean="0"/>
              <a:t> approche.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24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25</a:t>
            </a:fld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30</a:t>
            </a:fld>
            <a:endParaRPr 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31</a:t>
            </a:fld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tableau ci-dessous résume l’ensemble des pratiques qui nuisent à la qualité de l’application regroupé par critères   </a:t>
            </a:r>
          </a:p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37</a:t>
            </a:fld>
            <a:endParaRPr 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modèle des 4 + 1 vues de </a:t>
            </a:r>
            <a:r>
              <a:rPr lang="fr-FR" sz="1200" b="1" i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ruchten</a:t>
            </a:r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 est celui adopté dans l'</a:t>
            </a:r>
            <a:r>
              <a:rPr lang="fr-FR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ified</a:t>
            </a:r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FR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cess</a:t>
            </a:r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Ici encore, le modèle d'analyse, est composé de 4 vue : </a:t>
            </a:r>
          </a:p>
          <a:p>
            <a:pPr lvl="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ue Logique</a:t>
            </a:r>
            <a:endParaRPr lang="fr-FR" dirty="0" smtClean="0"/>
          </a:p>
          <a:p>
            <a:pPr lvl="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ue d’implémentation</a:t>
            </a:r>
            <a:endParaRPr lang="fr-FR" dirty="0" smtClean="0"/>
          </a:p>
          <a:p>
            <a:pPr lvl="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ue Processus</a:t>
            </a:r>
            <a:endParaRPr lang="fr-FR" dirty="0" smtClean="0"/>
          </a:p>
          <a:p>
            <a:pPr lvl="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ue déploiement </a:t>
            </a:r>
            <a:endParaRPr lang="fr-FR" dirty="0" smtClean="0"/>
          </a:p>
          <a:p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b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fr-FR" dirty="0" smtClean="0"/>
          </a:p>
          <a:p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 modèle a été le socle principale sur le quelle l’étude a été faite afin de trouver un modèle concret et répandant au besoin du projet.  </a:t>
            </a:r>
          </a:p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46</a:t>
            </a:fld>
            <a:endParaRPr 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51</a:t>
            </a:fld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5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Capgemini est la deuxième SSII dans le secteur des services informatiques derrière IBM Global Services et est parmi les 5 premiers mondiaux en externalisation. Elle a été créée par Serge</a:t>
            </a:r>
            <a:r>
              <a:rPr lang="fr-FR" baseline="0" dirty="0" smtClean="0"/>
              <a:t> 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Kampf le 1er octobre 1967 à Grenoble sous le nom de Sogeti (Société pour la gestion de l'entreprise et traitement de l'information)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8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 grands secteurs d’activités :</a:t>
            </a:r>
            <a:endParaRPr lang="fr-FR" sz="2800" b="1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cal Professional Service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tsourcing Service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chnology</a:t>
            </a:r>
            <a:r>
              <a:rPr lang="fr-FR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ervice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ulting Services </a:t>
            </a:r>
            <a:endParaRPr lang="fr-FR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Plusieurs Client Grand Compte que</a:t>
            </a:r>
            <a:r>
              <a:rPr lang="fr-FR" baseline="0" dirty="0" smtClean="0"/>
              <a:t> cela soit au niveau national ou international 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Chaque</a:t>
            </a:r>
            <a:r>
              <a:rPr lang="fr-FR" baseline="0" dirty="0" smtClean="0"/>
              <a:t> Client selon sont Activité est directement lié a un </a:t>
            </a:r>
            <a:r>
              <a:rPr lang="fr-FR" baseline="0" dirty="0" err="1" smtClean="0"/>
              <a:t>Skill</a:t>
            </a:r>
            <a:r>
              <a:rPr lang="fr-FR" baseline="0" dirty="0" smtClean="0"/>
              <a:t> Groupe ;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8882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ANALYSE, organisation ET OPTIMISATION DU PROCESSUS DE développement applicatif  </a:t>
            </a:r>
          </a:p>
          <a:p>
            <a:pPr marL="35242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Etudier le processus </a:t>
            </a:r>
            <a:r>
              <a:rPr lang="fr-FR" dirty="0" err="1" smtClean="0"/>
              <a:t>Metier</a:t>
            </a:r>
            <a:r>
              <a:rPr lang="fr-FR" baseline="0" dirty="0" smtClean="0"/>
              <a:t> mis en place en interne </a:t>
            </a:r>
          </a:p>
          <a:p>
            <a:pPr marL="35242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baseline="0" dirty="0" err="1" smtClean="0"/>
              <a:t>Reveler</a:t>
            </a:r>
            <a:r>
              <a:rPr lang="fr-FR" baseline="0" dirty="0" smtClean="0"/>
              <a:t> les différent point noir du </a:t>
            </a:r>
            <a:r>
              <a:rPr lang="fr-FR" baseline="0" dirty="0" err="1" smtClean="0"/>
              <a:t>process</a:t>
            </a:r>
            <a:r>
              <a:rPr lang="fr-FR" baseline="0" dirty="0" smtClean="0"/>
              <a:t> </a:t>
            </a:r>
          </a:p>
          <a:p>
            <a:pPr marL="35242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baseline="0" dirty="0" smtClean="0"/>
              <a:t> proposer des solutions au niveau technique </a:t>
            </a:r>
          </a:p>
          <a:p>
            <a:pPr marL="35242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baseline="0" dirty="0" smtClean="0"/>
              <a:t>Optimisation </a:t>
            </a:r>
            <a:r>
              <a:rPr lang="fr-FR" baseline="0" dirty="0" err="1" smtClean="0"/>
              <a:t>Organisationel</a:t>
            </a:r>
            <a:r>
              <a:rPr lang="fr-FR" baseline="0" dirty="0" smtClean="0"/>
              <a:t> 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4826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87400" y="571500"/>
            <a:ext cx="5283200" cy="36576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itchFamily="34" charset="0"/>
              <a:buChar char="•"/>
            </a:pPr>
            <a:r>
              <a:rPr lang="fr-FR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boarding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lobal : Jargon, Client, Organisation CDS, Processus, livrables </a:t>
            </a:r>
          </a:p>
          <a:p>
            <a:pPr marL="0" lvl="0" indent="0">
              <a:buFont typeface="Arial" pitchFamily="34" charset="0"/>
              <a:buNone/>
            </a:pP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fr-FR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boarding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ission : Le but de cette phase est d’avoir une première impression sur  le périmètre fonctionnel, l’architecture technique accompagné d’une auto formation techno. </a:t>
            </a:r>
          </a:p>
          <a:p>
            <a:pPr marL="352425" lvl="1" indent="-171450">
              <a:buFont typeface="Arial" pitchFamily="34" charset="0"/>
              <a:buChar char="•"/>
            </a:pPr>
            <a:r>
              <a:rPr lang="fr-FR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ts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|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lex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|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ven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|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nit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|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ring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| JPA |SVN …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lvl="0" indent="0">
              <a:buFont typeface="Arial" pitchFamily="34" charset="0"/>
              <a:buNone/>
            </a:pP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alyse : La partie Analyse englobera en gros les phases suivantes : </a:t>
            </a:r>
          </a:p>
          <a:p>
            <a:pPr marL="352425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ication des sous-systèmes et leurs périmètres</a:t>
            </a:r>
          </a:p>
          <a:p>
            <a:pPr marL="352425" lvl="1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alyse , </a:t>
            </a:r>
            <a:r>
              <a:rPr lang="fr-FR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rehension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,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itiqu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l’existant </a:t>
            </a: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marL="352425" lvl="1" indent="-171450">
              <a:buFont typeface="Arial" pitchFamily="34" charset="0"/>
              <a:buChar char="•"/>
            </a:pP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timisation : Cette phase est le noyau du projet puisqu’elle contient toute  la réalisation  et la liste des axes d’amélioration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écution : La dernière phase est la phase de mise en place, Conduite du changement et de test. </a:t>
            </a:r>
          </a:p>
          <a:p>
            <a:pPr marL="171450" indent="-171450">
              <a:buFont typeface="Arial" pitchFamily="34" charset="0"/>
              <a:buChar char="•"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4826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ExpertsMosaic_Color.jpg"/>
          <p:cNvPicPr>
            <a:picLocks noChangeAspect="1"/>
          </p:cNvPicPr>
          <p:nvPr userDrawn="1"/>
        </p:nvPicPr>
        <p:blipFill>
          <a:blip r:embed="rId3" cstate="print"/>
          <a:srcRect t="19317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4" y="1146176"/>
            <a:ext cx="9921874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2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1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7758134" y="1011422"/>
            <a:ext cx="19431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/>
                </a:solidFill>
              </a:rPr>
              <a:t>For internal use only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 userDrawn="1"/>
        </p:nvSpPr>
        <p:spPr>
          <a:xfrm>
            <a:off x="4452934" y="6215082"/>
            <a:ext cx="1000132" cy="571504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4452934" y="6286520"/>
            <a:ext cx="9664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fld id="{9D48B0A8-A3BB-4090-A486-05597CC74740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algn="ctr"/>
              <a:t>‹N°›</a:t>
            </a:fld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/53</a:t>
            </a:r>
            <a:endParaRPr lang="fr-FR" b="1" dirty="0"/>
          </a:p>
        </p:txBody>
      </p:sp>
      <p:pic>
        <p:nvPicPr>
          <p:cNvPr id="1030" name="Picture 6" descr="http://files.codes-sources.com/bfile/ViewSourceBIN.ashx?ID=47179&amp;f=Gestion_mediatheque++v4%2Fres%2Flogo+emsi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0" y="5996613"/>
            <a:ext cx="1184131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1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3" name="AutoShape 2" descr="data:image/jpeg;base64,/9j/4AAQSkZJRgABAQAAAQABAAD/2wCEAAkGBhQSERUUExQWFRQUFRkXGBgWFRoYGRwYGBgcHBgXHBQYGyYgGBojHBgXIC8mJCcpLCwtFx8xNTAqNSYrLCkBCQoKDgwOGg8PGiwfHyUqLSwtKiksKTUsKS0pKSksKSkpKSkpKSkpLCkpKSksKTUsKSwsLCkpLDYpLCwpLiwpLP/AABEIAGwAlAMBIgACEQEDEQH/xAAcAAABBQEBAQAAAAAAAAAAAAAAAQUGBwgEAwL/xABJEAABAwIDBAcEBQcJCQAAAAABAAIDBBEFEiEGBzFBEyJRYXGBkQgyobEUI0JSwYKSstHT4fAVJVNUYnKDwuIYJDM1Q2Nzk6L/xAAZAQEAAwEBAAAAAAAAAAAAAAAAAgMEAQX/xAAoEQADAAICAQIEBwAAAAAAAAAAAQIDEQQSISIxEyNRYQUyQXGBkbH/2gAMAwEAAhEDEQA/ALxSFF1z4jI4RPLPeDXFviAbaeKA9rofIALkgDtPD1Wd4toKp0zX9NIZS8Ws4jrF3uZeFrki3cVYW9t8opoOIYX/AFmW4GbLdt+0E30VSybTaRlnkpy6S9ixmSgi4IIPMaj1SlyrHc4ZbT3J6EZctzcZ7m9r8NNF17zdtHQAU8Di2VwzPcOLGngBfgTr5ArvddezJrMvh92WGHLyqqtkbS57g1rRckmwAVY7oMae6SWB7i5oaJGgkmxzWda5vrcG3cVPtoMFbV00kLjYSDQ9hGrTbnYrqrstolGTvHZETm3xU7ZMoikdHe2cEDzDDrZTnD69kzBJG4Oa4Agjv19Vm+KjJlEdwHF+QkmwBzW1PxWhdnsIjpIGwxizW6nXidMzte06qGK6r3KOPlvI32HVCQFKrjYCEIQAhCEAIQhACEIQHxI8AEngBdV5j+9yJmZlOwyOBIzk2ZftHN3wunneXiZhw+Sxs6QtjGv3j1reQKooLPlyNeEYeTncPrI5YJiohqo53t6QNkzlvA311HgTdOW2W2b697epkjjvlbmuTfm4XsSo2UBZu71owLLWupMN3+2TKJz2StcY5CCXDXLbj1e/uXNvAr6aep6ame5xePrNCG5h7tieduI7lGbpF123PUfFrp0ZINidoI6OpEsjXu0Leo4Djxu0jrcuYTrtJvOqJ3ubCTDFwGX3z3l3LyUKQitpaCy0p6pi3/jzunvA9sKime3LM/ICMzScwy362jr2NuxMaFFU0Qm3L2jS+G17Jo2yRuDmO1BHD9y6wqe3S7SGOY0rj1JbuZflIOI/KHyVwNOi3xXZbPbw5FknYqEIUy0EIQgBCEIAQhCAqzfLXaU8IP3pD+i34F6rBTze/G76bGTfKYWgdnvuv8wofi2Fup5XRPFnNt4WIBB+Kw5fNbPG5O3bZxoQhUmYEIQugLJbIBUvqsHikwiOpjaGywvLJSOLsx4nv1b6qUz2JzDreiHoQunDcPfPK2KMXe8kAeAJ/BR0RS2fNFWGKRkjdHRua8Hvbr8rjzWksOqxLEyRvB7A4eDhf8VRexGzQqqro5Y5DGA7OW9UNcLWBd6iwV60FCyGNscYysYLNHYPNbMMtLyenw5pJtnQhCFebgQhCAEgchJlQC3QkLEICs96xc+ejgto93Hndzmst8b+Kiu87/mUvgz9BtlMt5QtW4cf+98pYv1n1US3qQ5cRefvMYf/AJA/yrLlXhnm8j2r91/hEEI/enjHMLbFDSOb700Je/XmHuFwPABZ1OzCpbTaGhoudFIds9lvoUkbQSWyRhwvxzfaHDt+C8diKcPxCnadR0lzfuBI+IVn718KElCZftQODx/dOjge6xv5BWzG4bNOPCqx1RSo/j4qcVP1GBRt+1VTF/5I1v6NaobS0he9sbdXPcIx4kgD119VY29qiEcFIxrRlZmYHX7A3S3eAXfkpC9LZzEvTdFaZedtBx+XzI9VLd1cAdiDb/Zje7ztb8Vz4fhjP5Lqp+LxLHFx0Dbsfp3kkei7d0sZOIX5NieT52HzKROqRzFGsk7/AFLpiga3gALm5sANe02XoEjV9LaewgQhCHQQhCARqVJZKgBCEIBvrcHimLHSxteYzmYXC+Ug3uPMKtN8mGkSwzD3XNLD4g3HwJ9FbRVe742u+ixWGnTa+bXWVWWdyZ88p42VC1t9ANeHrp8yFN94mBugioifswdER2Obd3x6R3omnYfCelxCKN4tkdnc06GzRexB77KZ75KgdHTN5uc93kA2/wCl8FRK9DZgxx8umyLbsKIvxGM/0Ye8+QLR8XBW3tjRmWhqGN4mM28hf8FCtzGH9WeY8y2MeQzH5t9FZcouLHnp68VdinUGzjR8vX1MzQTOa4OYS1zSC09huCD+dlPkrh3jRfSMLbLlsWmKa1uAcBmB8nH0VcN2dL8RNKOczmE9jc3WP5l7eSvioomyRujcAWOblI5WOnyUMc+GinjxubRQ+F1X831sffA8eT3NPwy+qlO5eK89Q7m2NoHg55P+VRKmhyU1aD9kxMI/xf8AQfVWJuap2inmfpndLY9tmtFhbsuXFRj8yK8CbyT9kWGAlSXRdaz1RUIQgPly8amrZG0ue4Na0XJOgFl7FRfbzZ+Sqpi2J9nA5st7B/8AZPz8QuU9LaLcETeSZt6TfuGze3MNZI+Nl2uaeqHcXN+8By8FKGlUXsTsxPPUgtLoxC4Z32sRzyjtJ7OXNXlGLKjBkq59SPR/FuJg42bphra1/X8/c9EIQtB5J8vOhWeJfaArXktNNSOF+BZIdeWnSalaHk4HwWKI6l8cmZji1wNwWmxHmEBNRvMcKs1gjtL0mctzXbqAC251sexduLb7JqtuSopaZzNcuXpA5pItmDi8i48LaKx9xlQZ8NcZfrHMncwF4BNsrSBci54+KqOqxaUSO/nUNGY6ZJ9NewRW9FHqtaK/hpJr6jnge+SahiMVPDE4Fxe4y5iSSALAMeLDTndOMftFVxOtPS27hL+0/Apn2m2ilp89JFUitgqIIzmeGuIc4XOTL1ozcWyu1HNV+4ELqWiUypWkWFQbwzFOa1sd5czjle4uBL9CczWt0HqnUe0TXcOgpdP7Mv7VNu6LHZ43VZEhdHT0M0rY3G7MzbZOry1cpqaOh2kpLxBtPXRC5FgNbc7e/GTz4hcS0ciFO9EJl3yyyNkY+ipA2YgydGJI3OIN7l/Scb3Xzs9vZkos/wBHgbd9gRJIXt0OhytDetbTiuGm2ENK58uJNdFBC7LkHvzvH2Ir8WW1c/gAVdG6XE2VtE9/QxRZJXRtaxgGVtgWjNxcQDq48V3S3sdFvevJXcntEV4409KPFko+ci+f9oyu/oKX82X9qqyxTEJZn5ppHPdwu4353t4a/FSDd3jFNS1XS1dP9IYGG1hmLDcHpMh0dYXGvaukyZM9oLECLilpyO6Oa3r0iR3tC4gONNTDxZMNO23ScF24zimF1svSRYrUUZdYCMRuZG3Tk1gb+l5pywbBqt0bo6XFqPEGvYR0U/XLQQRmHWc5p8e1ARs+0ZXf1el/Nl/ar0Z7Qle4aU9Me2zJjx/xFW20WAy0c7oJ25ZGWuAQQQRcOBHEEap+3WVszcSpY2SyNY+dmZrXuDXAakOaDY6DmgJXDv3rxfLSUw1JNo5vMm0nHvRF7RFcXNHQUupA92Xmf/Knz2i8RkiFI2OR7A8TZg17mh1uj4gHXifVUdSu67f7w+aBvZttqEN/FCASTgfBZHi2GxBsmY0E7gHXLTE+x7rt1t4Fa5cNF8Aa/vKAz7gWPYzRRGKmwvo43OLi0U0pu4gAkkvJ4ADyTFPg9c9xccEbdxJP1E41PHQSLUNkWQGbcNOJ0wd9HwdsT3Nc3pG0shkGYW6r3vdbyAUVdsBiH9Sqf/U79Xj6rXlkWQGaMBpsSpGPZHhX/FjMchdTzEvYeLTdwGunAck20uAYpDUNqKehngewggRxSZb89HE6HmCbFapsiyAy7tBhuL11Q2epo55HNsA3oXNYGj7IA4A6k+KfsCxzGaKMx0uF9GwnMQKeU3dYAk5nE8APRaEsiyAyni2zFfOc38lyRvLnOcY4ZLOLjc3a4kDjyXRsvhuMYfKZaajna9zCw5qdzgWk3tYjtAWpLIsgMyV2G1sxJkwRmY8XMp5orntyxyBo8gEYfTYrTuz02F9A+xAe2le94B45XSF2U941Wm7IsgMk4nshitRIZZaWqkkdq5zonEn4LvwDBMUo3tkiw+QyMOZr30znFrrWu3kPMFansiyAzXtBNjVcGiqoHSZMwYTSEFua17EW+6FGoNgsQDm/7lUe8P8AouHPtstc2SOCAGFCUBCA/9k="/>
          <p:cNvSpPr>
            <a:spLocks noChangeAspect="1" noChangeArrowheads="1"/>
          </p:cNvSpPr>
          <p:nvPr userDrawn="1"/>
        </p:nvSpPr>
        <p:spPr bwMode="auto">
          <a:xfrm>
            <a:off x="155576" y="-144463"/>
            <a:ext cx="304799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" name="AutoShape 4" descr="data:image/jpeg;base64,/9j/4AAQSkZJRgABAQAAAQABAAD/2wCEAAkGBhQSERUUExQWFRQUFRkXGBgWFRoYGRwYGBgcHBgXHBQYGyYgGBojHBgXIC8mJCcpLCwtFx8xNTAqNSYrLCkBCQoKDgwOGg8PGiwfHyUqLSwtKiksKTUsKS0pKSksKSkpKSkpKSkpLCkpKSksKTUsKSwsLCkpLDYpLCwpLiwpLP/AABEIAGwAlAMBIgACEQEDEQH/xAAcAAABBQEBAQAAAAAAAAAAAAAAAQUGBwgEAwL/xABJEAABAwIDBAcEBQcJCQAAAAABAAIDBBEFEiEGBzFBEyJRYXGBkQgyobEUI0JSwYKSstHT4fAVJVNUYnKDwuIYJDM1Q2Nzk6L/xAAZAQEAAwEBAAAAAAAAAAAAAAAAAgMEAQX/xAAoEQADAAICAQIEBwAAAAAAAAAAAQIDEQQSISIxEyNRYQUyQXGBkbH/2gAMAwEAAhEDEQA/ALxSFF1z4jI4RPLPeDXFviAbaeKA9rofIALkgDtPD1Wd4toKp0zX9NIZS8Ws4jrF3uZeFrki3cVYW9t8opoOIYX/AFmW4GbLdt+0E30VSybTaRlnkpy6S9ixmSgi4IIPMaj1SlyrHc4ZbT3J6EZctzcZ7m9r8NNF17zdtHQAU8Di2VwzPcOLGngBfgTr5ArvddezJrMvh92WGHLyqqtkbS57g1rRckmwAVY7oMae6SWB7i5oaJGgkmxzWda5vrcG3cVPtoMFbV00kLjYSDQ9hGrTbnYrqrstolGTvHZETm3xU7ZMoikdHe2cEDzDDrZTnD69kzBJG4Oa4Agjv19Vm+KjJlEdwHF+QkmwBzW1PxWhdnsIjpIGwxizW6nXidMzte06qGK6r3KOPlvI32HVCQFKrjYCEIQAhCEAIQhACEIQHxI8AEngBdV5j+9yJmZlOwyOBIzk2ZftHN3wunneXiZhw+Sxs6QtjGv3j1reQKooLPlyNeEYeTncPrI5YJiohqo53t6QNkzlvA311HgTdOW2W2b697epkjjvlbmuTfm4XsSo2UBZu71owLLWupMN3+2TKJz2StcY5CCXDXLbj1e/uXNvAr6aep6ame5xePrNCG5h7tieduI7lGbpF123PUfFrp0ZINidoI6OpEsjXu0Leo4Djxu0jrcuYTrtJvOqJ3ubCTDFwGX3z3l3LyUKQitpaCy0p6pi3/jzunvA9sKime3LM/ICMzScwy362jr2NuxMaFFU0Qm3L2jS+G17Jo2yRuDmO1BHD9y6wqe3S7SGOY0rj1JbuZflIOI/KHyVwNOi3xXZbPbw5FknYqEIUy0EIQgBCEIAQhCAqzfLXaU8IP3pD+i34F6rBTze/G76bGTfKYWgdnvuv8wofi2Fup5XRPFnNt4WIBB+Kw5fNbPG5O3bZxoQhUmYEIQugLJbIBUvqsHikwiOpjaGywvLJSOLsx4nv1b6qUz2JzDreiHoQunDcPfPK2KMXe8kAeAJ/BR0RS2fNFWGKRkjdHRua8Hvbr8rjzWksOqxLEyRvB7A4eDhf8VRexGzQqqro5Y5DGA7OW9UNcLWBd6iwV60FCyGNscYysYLNHYPNbMMtLyenw5pJtnQhCFebgQhCAEgchJlQC3QkLEICs96xc+ejgto93Hndzmst8b+Kiu87/mUvgz9BtlMt5QtW4cf+98pYv1n1US3qQ5cRefvMYf/AJA/yrLlXhnm8j2r91/hEEI/enjHMLbFDSOb700Je/XmHuFwPABZ1OzCpbTaGhoudFIds9lvoUkbQSWyRhwvxzfaHDt+C8diKcPxCnadR0lzfuBI+IVn718KElCZftQODx/dOjge6xv5BWzG4bNOPCqx1RSo/j4qcVP1GBRt+1VTF/5I1v6NaobS0he9sbdXPcIx4kgD119VY29qiEcFIxrRlZmYHX7A3S3eAXfkpC9LZzEvTdFaZedtBx+XzI9VLd1cAdiDb/Zje7ztb8Vz4fhjP5Lqp+LxLHFx0Dbsfp3kkei7d0sZOIX5NieT52HzKROqRzFGsk7/AFLpiga3gALm5sANe02XoEjV9LaewgQhCHQQhCARqVJZKgBCEIBvrcHimLHSxteYzmYXC+Ug3uPMKtN8mGkSwzD3XNLD4g3HwJ9FbRVe742u+ixWGnTa+bXWVWWdyZ88p42VC1t9ANeHrp8yFN94mBugioifswdER2Obd3x6R3omnYfCelxCKN4tkdnc06GzRexB77KZ75KgdHTN5uc93kA2/wCl8FRK9DZgxx8umyLbsKIvxGM/0Ye8+QLR8XBW3tjRmWhqGN4mM28hf8FCtzGH9WeY8y2MeQzH5t9FZcouLHnp68VdinUGzjR8vX1MzQTOa4OYS1zSC09huCD+dlPkrh3jRfSMLbLlsWmKa1uAcBmB8nH0VcN2dL8RNKOczmE9jc3WP5l7eSvioomyRujcAWOblI5WOnyUMc+GinjxubRQ+F1X831sffA8eT3NPwy+qlO5eK89Q7m2NoHg55P+VRKmhyU1aD9kxMI/xf8AQfVWJuap2inmfpndLY9tmtFhbsuXFRj8yK8CbyT9kWGAlSXRdaz1RUIQgPly8amrZG0ue4Na0XJOgFl7FRfbzZ+Sqpi2J9nA5st7B/8AZPz8QuU9LaLcETeSZt6TfuGze3MNZI+Nl2uaeqHcXN+8By8FKGlUXsTsxPPUgtLoxC4Z32sRzyjtJ7OXNXlGLKjBkq59SPR/FuJg42bphra1/X8/c9EIQtB5J8vOhWeJfaArXktNNSOF+BZIdeWnSalaHk4HwWKI6l8cmZji1wNwWmxHmEBNRvMcKs1gjtL0mctzXbqAC251sexduLb7JqtuSopaZzNcuXpA5pItmDi8i48LaKx9xlQZ8NcZfrHMncwF4BNsrSBci54+KqOqxaUSO/nUNGY6ZJ9NewRW9FHqtaK/hpJr6jnge+SahiMVPDE4Fxe4y5iSSALAMeLDTndOMftFVxOtPS27hL+0/Apn2m2ilp89JFUitgqIIzmeGuIc4XOTL1ozcWyu1HNV+4ELqWiUypWkWFQbwzFOa1sd5czjle4uBL9CczWt0HqnUe0TXcOgpdP7Mv7VNu6LHZ43VZEhdHT0M0rY3G7MzbZOry1cpqaOh2kpLxBtPXRC5FgNbc7e/GTz4hcS0ciFO9EJl3yyyNkY+ipA2YgydGJI3OIN7l/Scb3Xzs9vZkos/wBHgbd9gRJIXt0OhytDetbTiuGm2ENK58uJNdFBC7LkHvzvH2Ir8WW1c/gAVdG6XE2VtE9/QxRZJXRtaxgGVtgWjNxcQDq48V3S3sdFvevJXcntEV4409KPFko+ci+f9oyu/oKX82X9qqyxTEJZn5ppHPdwu4353t4a/FSDd3jFNS1XS1dP9IYGG1hmLDcHpMh0dYXGvaukyZM9oLECLilpyO6Oa3r0iR3tC4gONNTDxZMNO23ScF24zimF1svSRYrUUZdYCMRuZG3Tk1gb+l5pywbBqt0bo6XFqPEGvYR0U/XLQQRmHWc5p8e1ARs+0ZXf1el/Nl/ar0Z7Qle4aU9Me2zJjx/xFW20WAy0c7oJ25ZGWuAQQQRcOBHEEap+3WVszcSpY2SyNY+dmZrXuDXAakOaDY6DmgJXDv3rxfLSUw1JNo5vMm0nHvRF7RFcXNHQUupA92Xmf/Knz2i8RkiFI2OR7A8TZg17mh1uj4gHXifVUdSu67f7w+aBvZttqEN/FCASTgfBZHi2GxBsmY0E7gHXLTE+x7rt1t4Fa5cNF8Aa/vKAz7gWPYzRRGKmwvo43OLi0U0pu4gAkkvJ4ADyTFPg9c9xccEbdxJP1E41PHQSLUNkWQGbcNOJ0wd9HwdsT3Nc3pG0shkGYW6r3vdbyAUVdsBiH9Sqf/U79Xj6rXlkWQGaMBpsSpGPZHhX/FjMchdTzEvYeLTdwGunAck20uAYpDUNqKehngewggRxSZb89HE6HmCbFapsiyAy7tBhuL11Q2epo55HNsA3oXNYGj7IA4A6k+KfsCxzGaKMx0uF9GwnMQKeU3dYAk5nE8APRaEsiyAyni2zFfOc38lyRvLnOcY4ZLOLjc3a4kDjyXRsvhuMYfKZaajna9zCw5qdzgWk3tYjtAWpLIsgMyV2G1sxJkwRmY8XMp5orntyxyBo8gEYfTYrTuz02F9A+xAe2le94B45XSF2U941Wm7IsgMk4nshitRIZZaWqkkdq5zonEn4LvwDBMUo3tkiw+QyMOZr30znFrrWu3kPMFansiyAzXtBNjVcGiqoHSZMwYTSEFua17EW+6FGoNgsQDm/7lUe8P8AouHPtstc2SOCAGFCUBCA/9k="/>
          <p:cNvSpPr>
            <a:spLocks noChangeAspect="1" noChangeArrowheads="1"/>
          </p:cNvSpPr>
          <p:nvPr userDrawn="1"/>
        </p:nvSpPr>
        <p:spPr bwMode="auto">
          <a:xfrm>
            <a:off x="307977" y="7937"/>
            <a:ext cx="304799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034" name="Picture 10" descr="http://www.antoinemillien.com/css/img/bulle/bu_capgemini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87" y="175154"/>
            <a:ext cx="445535" cy="445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1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3" name="AutoShape 2" descr="data:image/jpeg;base64,/9j/4AAQSkZJRgABAQAAAQABAAD/2wCEAAkGBhQSERUUExQWFRQUFRkXGBgWFRoYGRwYGBgcHBgXHBQYGyYgGBojHBgXIC8mJCcpLCwtFx8xNTAqNSYrLCkBCQoKDgwOGg8PGiwfHyUqLSwtKiksKTUsKS0pKSksKSkpKSkpKSkpLCkpKSksKTUsKSwsLCkpLDYpLCwpLiwpLP/AABEIAGwAlAMBIgACEQEDEQH/xAAcAAABBQEBAQAAAAAAAAAAAAAAAQUGBwgEAwL/xABJEAABAwIDBAcEBQcJCQAAAAABAAIDBBEFEiEGBzFBEyJRYXGBkQgyobEUI0JSwYKSstHT4fAVJVNUYnKDwuIYJDM1Q2Nzk6L/xAAZAQEAAwEBAAAAAAAAAAAAAAAAAgMEAQX/xAAoEQADAAICAQIEBwAAAAAAAAAAAQIDEQQSISIxEyNRYQUyQXGBkbH/2gAMAwEAAhEDEQA/ALxSFF1z4jI4RPLPeDXFviAbaeKA9rofIALkgDtPD1Wd4toKp0zX9NIZS8Ws4jrF3uZeFrki3cVYW9t8opoOIYX/AFmW4GbLdt+0E30VSybTaRlnkpy6S9ixmSgi4IIPMaj1SlyrHc4ZbT3J6EZctzcZ7m9r8NNF17zdtHQAU8Di2VwzPcOLGngBfgTr5ArvddezJrMvh92WGHLyqqtkbS57g1rRckmwAVY7oMae6SWB7i5oaJGgkmxzWda5vrcG3cVPtoMFbV00kLjYSDQ9hGrTbnYrqrstolGTvHZETm3xU7ZMoikdHe2cEDzDDrZTnD69kzBJG4Oa4Agjv19Vm+KjJlEdwHF+QkmwBzW1PxWhdnsIjpIGwxizW6nXidMzte06qGK6r3KOPlvI32HVCQFKrjYCEIQAhCEAIQhACEIQHxI8AEngBdV5j+9yJmZlOwyOBIzk2ZftHN3wunneXiZhw+Sxs6QtjGv3j1reQKooLPlyNeEYeTncPrI5YJiohqo53t6QNkzlvA311HgTdOW2W2b697epkjjvlbmuTfm4XsSo2UBZu71owLLWupMN3+2TKJz2StcY5CCXDXLbj1e/uXNvAr6aep6ame5xePrNCG5h7tieduI7lGbpF123PUfFrp0ZINidoI6OpEsjXu0Leo4Djxu0jrcuYTrtJvOqJ3ubCTDFwGX3z3l3LyUKQitpaCy0p6pi3/jzunvA9sKime3LM/ICMzScwy362jr2NuxMaFFU0Qm3L2jS+G17Jo2yRuDmO1BHD9y6wqe3S7SGOY0rj1JbuZflIOI/KHyVwNOi3xXZbPbw5FknYqEIUy0EIQgBCEIAQhCAqzfLXaU8IP3pD+i34F6rBTze/G76bGTfKYWgdnvuv8wofi2Fup5XRPFnNt4WIBB+Kw5fNbPG5O3bZxoQhUmYEIQugLJbIBUvqsHikwiOpjaGywvLJSOLsx4nv1b6qUz2JzDreiHoQunDcPfPK2KMXe8kAeAJ/BR0RS2fNFWGKRkjdHRua8Hvbr8rjzWksOqxLEyRvB7A4eDhf8VRexGzQqqro5Y5DGA7OW9UNcLWBd6iwV60FCyGNscYysYLNHYPNbMMtLyenw5pJtnQhCFebgQhCAEgchJlQC3QkLEICs96xc+ejgto93Hndzmst8b+Kiu87/mUvgz9BtlMt5QtW4cf+98pYv1n1US3qQ5cRefvMYf/AJA/yrLlXhnm8j2r91/hEEI/enjHMLbFDSOb700Je/XmHuFwPABZ1OzCpbTaGhoudFIds9lvoUkbQSWyRhwvxzfaHDt+C8diKcPxCnadR0lzfuBI+IVn718KElCZftQODx/dOjge6xv5BWzG4bNOPCqx1RSo/j4qcVP1GBRt+1VTF/5I1v6NaobS0he9sbdXPcIx4kgD119VY29qiEcFIxrRlZmYHX7A3S3eAXfkpC9LZzEvTdFaZedtBx+XzI9VLd1cAdiDb/Zje7ztb8Vz4fhjP5Lqp+LxLHFx0Dbsfp3kkei7d0sZOIX5NieT52HzKROqRzFGsk7/AFLpiga3gALm5sANe02XoEjV9LaewgQhCHQQhCARqVJZKgBCEIBvrcHimLHSxteYzmYXC+Ug3uPMKtN8mGkSwzD3XNLD4g3HwJ9FbRVe742u+ixWGnTa+bXWVWWdyZ88p42VC1t9ANeHrp8yFN94mBugioifswdER2Obd3x6R3omnYfCelxCKN4tkdnc06GzRexB77KZ75KgdHTN5uc93kA2/wCl8FRK9DZgxx8umyLbsKIvxGM/0Ye8+QLR8XBW3tjRmWhqGN4mM28hf8FCtzGH9WeY8y2MeQzH5t9FZcouLHnp68VdinUGzjR8vX1MzQTOa4OYS1zSC09huCD+dlPkrh3jRfSMLbLlsWmKa1uAcBmB8nH0VcN2dL8RNKOczmE9jc3WP5l7eSvioomyRujcAWOblI5WOnyUMc+GinjxubRQ+F1X831sffA8eT3NPwy+qlO5eK89Q7m2NoHg55P+VRKmhyU1aD9kxMI/xf8AQfVWJuap2inmfpndLY9tmtFhbsuXFRj8yK8CbyT9kWGAlSXRdaz1RUIQgPly8amrZG0ue4Na0XJOgFl7FRfbzZ+Sqpi2J9nA5st7B/8AZPz8QuU9LaLcETeSZt6TfuGze3MNZI+Nl2uaeqHcXN+8By8FKGlUXsTsxPPUgtLoxC4Z32sRzyjtJ7OXNXlGLKjBkq59SPR/FuJg42bphra1/X8/c9EIQtB5J8vOhWeJfaArXktNNSOF+BZIdeWnSalaHk4HwWKI6l8cmZji1wNwWmxHmEBNRvMcKs1gjtL0mctzXbqAC251sexduLb7JqtuSopaZzNcuXpA5pItmDi8i48LaKx9xlQZ8NcZfrHMncwF4BNsrSBci54+KqOqxaUSO/nUNGY6ZJ9NewRW9FHqtaK/hpJr6jnge+SahiMVPDE4Fxe4y5iSSALAMeLDTndOMftFVxOtPS27hL+0/Apn2m2ilp89JFUitgqIIzmeGuIc4XOTL1ozcWyu1HNV+4ELqWiUypWkWFQbwzFOa1sd5czjle4uBL9CczWt0HqnUe0TXcOgpdP7Mv7VNu6LHZ43VZEhdHT0M0rY3G7MzbZOry1cpqaOh2kpLxBtPXRC5FgNbc7e/GTz4hcS0ciFO9EJl3yyyNkY+ipA2YgydGJI3OIN7l/Scb3Xzs9vZkos/wBHgbd9gRJIXt0OhytDetbTiuGm2ENK58uJNdFBC7LkHvzvH2Ir8WW1c/gAVdG6XE2VtE9/QxRZJXRtaxgGVtgWjNxcQDq48V3S3sdFvevJXcntEV4409KPFko+ci+f9oyu/oKX82X9qqyxTEJZn5ppHPdwu4353t4a/FSDd3jFNS1XS1dP9IYGG1hmLDcHpMh0dYXGvaukyZM9oLECLilpyO6Oa3r0iR3tC4gONNTDxZMNO23ScF24zimF1svSRYrUUZdYCMRuZG3Tk1gb+l5pywbBqt0bo6XFqPEGvYR0U/XLQQRmHWc5p8e1ARs+0ZXf1el/Nl/ar0Z7Qle4aU9Me2zJjx/xFW20WAy0c7oJ25ZGWuAQQQRcOBHEEap+3WVszcSpY2SyNY+dmZrXuDXAakOaDY6DmgJXDv3rxfLSUw1JNo5vMm0nHvRF7RFcXNHQUupA92Xmf/Knz2i8RkiFI2OR7A8TZg17mh1uj4gHXifVUdSu67f7w+aBvZttqEN/FCASTgfBZHi2GxBsmY0E7gHXLTE+x7rt1t4Fa5cNF8Aa/vKAz7gWPYzRRGKmwvo43OLi0U0pu4gAkkvJ4ADyTFPg9c9xccEbdxJP1E41PHQSLUNkWQGbcNOJ0wd9HwdsT3Nc3pG0shkGYW6r3vdbyAUVdsBiH9Sqf/U79Xj6rXlkWQGaMBpsSpGPZHhX/FjMchdTzEvYeLTdwGunAck20uAYpDUNqKehngewggRxSZb89HE6HmCbFapsiyAy7tBhuL11Q2epo55HNsA3oXNYGj7IA4A6k+KfsCxzGaKMx0uF9GwnMQKeU3dYAk5nE8APRaEsiyAyni2zFfOc38lyRvLnOcY4ZLOLjc3a4kDjyXRsvhuMYfKZaajna9zCw5qdzgWk3tYjtAWpLIsgMyV2G1sxJkwRmY8XMp5orntyxyBo8gEYfTYrTuz02F9A+xAe2le94B45XSF2U941Wm7IsgMk4nshitRIZZaWqkkdq5zonEn4LvwDBMUo3tkiw+QyMOZr30znFrrWu3kPMFansiyAzXtBNjVcGiqoHSZMwYTSEFua17EW+6FGoNgsQDm/7lUe8P8AouHPtstc2SOCAGFCUBCA/9k="/>
          <p:cNvSpPr>
            <a:spLocks noChangeAspect="1" noChangeArrowheads="1"/>
          </p:cNvSpPr>
          <p:nvPr userDrawn="1"/>
        </p:nvSpPr>
        <p:spPr bwMode="auto">
          <a:xfrm>
            <a:off x="155576" y="-144463"/>
            <a:ext cx="304799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" name="AutoShape 4" descr="data:image/jpeg;base64,/9j/4AAQSkZJRgABAQAAAQABAAD/2wCEAAkGBhQSERUUExQWFRQUFRkXGBgWFRoYGRwYGBgcHBgXHBQYGyYgGBojHBgXIC8mJCcpLCwtFx8xNTAqNSYrLCkBCQoKDgwOGg8PGiwfHyUqLSwtKiksKTUsKS0pKSksKSkpKSkpKSkpLCkpKSksKTUsKSwsLCkpLDYpLCwpLiwpLP/AABEIAGwAlAMBIgACEQEDEQH/xAAcAAABBQEBAQAAAAAAAAAAAAAAAQUGBwgEAwL/xABJEAABAwIDBAcEBQcJCQAAAAABAAIDBBEFEiEGBzFBEyJRYXGBkQgyobEUI0JSwYKSstHT4fAVJVNUYnKDwuIYJDM1Q2Nzk6L/xAAZAQEAAwEBAAAAAAAAAAAAAAAAAgMEAQX/xAAoEQADAAICAQIEBwAAAAAAAAAAAQIDEQQSISIxEyNRYQUyQXGBkbH/2gAMAwEAAhEDEQA/ALxSFF1z4jI4RPLPeDXFviAbaeKA9rofIALkgDtPD1Wd4toKp0zX9NIZS8Ws4jrF3uZeFrki3cVYW9t8opoOIYX/AFmW4GbLdt+0E30VSybTaRlnkpy6S9ixmSgi4IIPMaj1SlyrHc4ZbT3J6EZctzcZ7m9r8NNF17zdtHQAU8Di2VwzPcOLGngBfgTr5ArvddezJrMvh92WGHLyqqtkbS57g1rRckmwAVY7oMae6SWB7i5oaJGgkmxzWda5vrcG3cVPtoMFbV00kLjYSDQ9hGrTbnYrqrstolGTvHZETm3xU7ZMoikdHe2cEDzDDrZTnD69kzBJG4Oa4Agjv19Vm+KjJlEdwHF+QkmwBzW1PxWhdnsIjpIGwxizW6nXidMzte06qGK6r3KOPlvI32HVCQFKrjYCEIQAhCEAIQhACEIQHxI8AEngBdV5j+9yJmZlOwyOBIzk2ZftHN3wunneXiZhw+Sxs6QtjGv3j1reQKooLPlyNeEYeTncPrI5YJiohqo53t6QNkzlvA311HgTdOW2W2b697epkjjvlbmuTfm4XsSo2UBZu71owLLWupMN3+2TKJz2StcY5CCXDXLbj1e/uXNvAr6aep6ame5xePrNCG5h7tieduI7lGbpF123PUfFrp0ZINidoI6OpEsjXu0Leo4Djxu0jrcuYTrtJvOqJ3ubCTDFwGX3z3l3LyUKQitpaCy0p6pi3/jzunvA9sKime3LM/ICMzScwy362jr2NuxMaFFU0Qm3L2jS+G17Jo2yRuDmO1BHD9y6wqe3S7SGOY0rj1JbuZflIOI/KHyVwNOi3xXZbPbw5FknYqEIUy0EIQgBCEIAQhCAqzfLXaU8IP3pD+i34F6rBTze/G76bGTfKYWgdnvuv8wofi2Fup5XRPFnNt4WIBB+Kw5fNbPG5O3bZxoQhUmYEIQugLJbIBUvqsHikwiOpjaGywvLJSOLsx4nv1b6qUz2JzDreiHoQunDcPfPK2KMXe8kAeAJ/BR0RS2fNFWGKRkjdHRua8Hvbr8rjzWksOqxLEyRvB7A4eDhf8VRexGzQqqro5Y5DGA7OW9UNcLWBd6iwV60FCyGNscYysYLNHYPNbMMtLyenw5pJtnQhCFebgQhCAEgchJlQC3QkLEICs96xc+ejgto93Hndzmst8b+Kiu87/mUvgz9BtlMt5QtW4cf+98pYv1n1US3qQ5cRefvMYf/AJA/yrLlXhnm8j2r91/hEEI/enjHMLbFDSOb700Je/XmHuFwPABZ1OzCpbTaGhoudFIds9lvoUkbQSWyRhwvxzfaHDt+C8diKcPxCnadR0lzfuBI+IVn718KElCZftQODx/dOjge6xv5BWzG4bNOPCqx1RSo/j4qcVP1GBRt+1VTF/5I1v6NaobS0he9sbdXPcIx4kgD119VY29qiEcFIxrRlZmYHX7A3S3eAXfkpC9LZzEvTdFaZedtBx+XzI9VLd1cAdiDb/Zje7ztb8Vz4fhjP5Lqp+LxLHFx0Dbsfp3kkei7d0sZOIX5NieT52HzKROqRzFGsk7/AFLpiga3gALm5sANe02XoEjV9LaewgQhCHQQhCARqVJZKgBCEIBvrcHimLHSxteYzmYXC+Ug3uPMKtN8mGkSwzD3XNLD4g3HwJ9FbRVe742u+ixWGnTa+bXWVWWdyZ88p42VC1t9ANeHrp8yFN94mBugioifswdER2Obd3x6R3omnYfCelxCKN4tkdnc06GzRexB77KZ75KgdHTN5uc93kA2/wCl8FRK9DZgxx8umyLbsKIvxGM/0Ye8+QLR8XBW3tjRmWhqGN4mM28hf8FCtzGH9WeY8y2MeQzH5t9FZcouLHnp68VdinUGzjR8vX1MzQTOa4OYS1zSC09huCD+dlPkrh3jRfSMLbLlsWmKa1uAcBmB8nH0VcN2dL8RNKOczmE9jc3WP5l7eSvioomyRujcAWOblI5WOnyUMc+GinjxubRQ+F1X831sffA8eT3NPwy+qlO5eK89Q7m2NoHg55P+VRKmhyU1aD9kxMI/xf8AQfVWJuap2inmfpndLY9tmtFhbsuXFRj8yK8CbyT9kWGAlSXRdaz1RUIQgPly8amrZG0ue4Na0XJOgFl7FRfbzZ+Sqpi2J9nA5st7B/8AZPz8QuU9LaLcETeSZt6TfuGze3MNZI+Nl2uaeqHcXN+8By8FKGlUXsTsxPPUgtLoxC4Z32sRzyjtJ7OXNXlGLKjBkq59SPR/FuJg42bphra1/X8/c9EIQtB5J8vOhWeJfaArXktNNSOF+BZIdeWnSalaHk4HwWKI6l8cmZji1wNwWmxHmEBNRvMcKs1gjtL0mctzXbqAC251sexduLb7JqtuSopaZzNcuXpA5pItmDi8i48LaKx9xlQZ8NcZfrHMncwF4BNsrSBci54+KqOqxaUSO/nUNGY6ZJ9NewRW9FHqtaK/hpJr6jnge+SahiMVPDE4Fxe4y5iSSALAMeLDTndOMftFVxOtPS27hL+0/Apn2m2ilp89JFUitgqIIzmeGuIc4XOTL1ozcWyu1HNV+4ELqWiUypWkWFQbwzFOa1sd5czjle4uBL9CczWt0HqnUe0TXcOgpdP7Mv7VNu6LHZ43VZEhdHT0M0rY3G7MzbZOry1cpqaOh2kpLxBtPXRC5FgNbc7e/GTz4hcS0ciFO9EJl3yyyNkY+ipA2YgydGJI3OIN7l/Scb3Xzs9vZkos/wBHgbd9gRJIXt0OhytDetbTiuGm2ENK58uJNdFBC7LkHvzvH2Ir8WW1c/gAVdG6XE2VtE9/QxRZJXRtaxgGVtgWjNxcQDq48V3S3sdFvevJXcntEV4409KPFko+ci+f9oyu/oKX82X9qqyxTEJZn5ppHPdwu4353t4a/FSDd3jFNS1XS1dP9IYGG1hmLDcHpMh0dYXGvaukyZM9oLECLilpyO6Oa3r0iR3tC4gONNTDxZMNO23ScF24zimF1svSRYrUUZdYCMRuZG3Tk1gb+l5pywbBqt0bo6XFqPEGvYR0U/XLQQRmHWc5p8e1ARs+0ZXf1el/Nl/ar0Z7Qle4aU9Me2zJjx/xFW20WAy0c7oJ25ZGWuAQQQRcOBHEEap+3WVszcSpY2SyNY+dmZrXuDXAakOaDY6DmgJXDv3rxfLSUw1JNo5vMm0nHvRF7RFcXNHQUupA92Xmf/Knz2i8RkiFI2OR7A8TZg17mh1uj4gHXifVUdSu67f7w+aBvZttqEN/FCASTgfBZHi2GxBsmY0E7gHXLTE+x7rt1t4Fa5cNF8Aa/vKAz7gWPYzRRGKmwvo43OLi0U0pu4gAkkvJ4ADyTFPg9c9xccEbdxJP1E41PHQSLUNkWQGbcNOJ0wd9HwdsT3Nc3pG0shkGYW6r3vdbyAUVdsBiH9Sqf/U79Xj6rXlkWQGaMBpsSpGPZHhX/FjMchdTzEvYeLTdwGunAck20uAYpDUNqKehngewggRxSZb89HE6HmCbFapsiyAy7tBhuL11Q2epo55HNsA3oXNYGj7IA4A6k+KfsCxzGaKMx0uF9GwnMQKeU3dYAk5nE8APRaEsiyAyni2zFfOc38lyRvLnOcY4ZLOLjc3a4kDjyXRsvhuMYfKZaajna9zCw5qdzgWk3tYjtAWpLIsgMyV2G1sxJkwRmY8XMp5orntyxyBo8gEYfTYrTuz02F9A+xAe2le94B45XSF2U941Wm7IsgMk4nshitRIZZaWqkkdq5zonEn4LvwDBMUo3tkiw+QyMOZr30znFrrWu3kPMFansiyAzXtBNjVcGiqoHSZMwYTSEFua17EW+6FGoNgsQDm/7lUe8P8AouHPtstc2SOCAGFCUBCA/9k="/>
          <p:cNvSpPr>
            <a:spLocks noChangeAspect="1" noChangeArrowheads="1"/>
          </p:cNvSpPr>
          <p:nvPr userDrawn="1"/>
        </p:nvSpPr>
        <p:spPr bwMode="auto">
          <a:xfrm>
            <a:off x="307977" y="7937"/>
            <a:ext cx="304799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034" name="Picture 10" descr="http://www.antoinemillien.com/css/img/bulle/bu_capgemini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87" y="175154"/>
            <a:ext cx="445535" cy="445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llipse 6"/>
          <p:cNvSpPr/>
          <p:nvPr userDrawn="1"/>
        </p:nvSpPr>
        <p:spPr>
          <a:xfrm>
            <a:off x="8882090" y="6215082"/>
            <a:ext cx="1000132" cy="571504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8882090" y="6286520"/>
            <a:ext cx="9664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fld id="{9D48B0A8-A3BB-4090-A486-05597CC74740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algn="ctr"/>
              <a:t>‹N°›</a:t>
            </a:fld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/53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3650488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Ellipse 3"/>
          <p:cNvSpPr/>
          <p:nvPr userDrawn="1"/>
        </p:nvSpPr>
        <p:spPr>
          <a:xfrm>
            <a:off x="4452934" y="6215082"/>
            <a:ext cx="1000132" cy="571504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4452934" y="6286520"/>
            <a:ext cx="9664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fld id="{9D48B0A8-A3BB-4090-A486-05597CC74740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algn="ctr"/>
              <a:t>‹N°›</a:t>
            </a:fld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/53</a:t>
            </a:r>
            <a:endParaRPr lang="fr-FR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7439281" y="5376350"/>
            <a:ext cx="246671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178" y="922006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6597650"/>
            <a:ext cx="9906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370" y="4856254"/>
            <a:ext cx="3803913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1" name="Ellipse 10"/>
          <p:cNvSpPr/>
          <p:nvPr userDrawn="1"/>
        </p:nvSpPr>
        <p:spPr>
          <a:xfrm>
            <a:off x="4452934" y="6215082"/>
            <a:ext cx="1000132" cy="571504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4452934" y="6286520"/>
            <a:ext cx="9664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fld id="{9D48B0A8-A3BB-4090-A486-05597CC74740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algn="ctr"/>
              <a:t>‹N°›</a:t>
            </a:fld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/53</a:t>
            </a:r>
            <a:endParaRPr lang="fr-FR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4" y="1146176"/>
            <a:ext cx="9921874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2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1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4" y="1146176"/>
            <a:ext cx="9921874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328612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1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383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6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721" y="6554789"/>
            <a:ext cx="1265337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 smtClean="0"/>
              <a:t>Insert "Title, Author, Date"</a:t>
            </a:r>
            <a:endParaRPr lang="en-US" noProof="0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4555" y="6732001"/>
            <a:ext cx="255445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N°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0 Capgemini - Internal use only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35383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721" y="6554789"/>
            <a:ext cx="1265337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 smtClean="0"/>
              <a:t>Insert "Title, Author, Date"</a:t>
            </a:r>
            <a:endParaRPr lang="en-US" noProof="0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4555" y="6732001"/>
            <a:ext cx="255445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N°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0 Capgemini - Internal use only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1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721" y="6554789"/>
            <a:ext cx="1265337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 smtClean="0"/>
              <a:t>Insert "Title, Author, Date"</a:t>
            </a:r>
            <a:endParaRPr lang="en-US" noProof="0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4555" y="6732001"/>
            <a:ext cx="255445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N°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0 Capgemini - Internal use only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79999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721" y="6554789"/>
            <a:ext cx="1265337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 smtClean="0"/>
              <a:t>Insert "Title, Author, Date"</a:t>
            </a:r>
            <a:endParaRPr lang="en-US" noProof="0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4555" y="6732001"/>
            <a:ext cx="255445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N°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0 Capgemini - Internal use only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721" y="6554789"/>
            <a:ext cx="1265337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 smtClean="0"/>
              <a:t>Insert "Title, Author, Date"</a:t>
            </a:r>
            <a:endParaRPr lang="en-US" noProof="0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4555" y="6732001"/>
            <a:ext cx="255445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N°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0 Capgemini - Internal use only. All rights reserved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 descr="http://files.codes-sources.com/bfile/ViewSourceBIN.ashx?ID=47179&amp;f=Gestion_mediatheque++v4%2Fres%2Flogo+emsi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1870" y="116632"/>
            <a:ext cx="1184131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4700972" y="6543254"/>
            <a:ext cx="50405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9D48B0A8-A3BB-4090-A486-05597CC7474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/>
              <a:t>‹N°›</a:t>
            </a:fld>
            <a:endParaRPr lang="fr-FR" b="1" dirty="0"/>
          </a:p>
        </p:txBody>
      </p:sp>
      <p:sp>
        <p:nvSpPr>
          <p:cNvPr id="18" name="Titr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9142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 style du titre</a:t>
            </a:r>
            <a:endParaRPr lang="en-US" noProof="0" smtClean="0"/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8317377" y="6305550"/>
            <a:ext cx="158862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1" y="6381751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721" y="6554789"/>
            <a:ext cx="1265337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 smtClean="0"/>
              <a:t>Insert "Title, Author, Date"</a:t>
            </a:r>
            <a:endParaRPr lang="en-US" noProof="0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4555" y="6732001"/>
            <a:ext cx="255445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N°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42" y="6286501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0 Capgemini - Internal use only. All rights reserved.</a:t>
            </a: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943" y="1"/>
            <a:ext cx="3457575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5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440000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82" r:id="rId3"/>
    <p:sldLayoutId id="2147483663" r:id="rId4"/>
    <p:sldLayoutId id="2147483664" r:id="rId5"/>
    <p:sldLayoutId id="2147483665" r:id="rId6"/>
    <p:sldLayoutId id="2147483667" r:id="rId7"/>
    <p:sldLayoutId id="2147483670" r:id="rId8"/>
    <p:sldLayoutId id="2147483683" r:id="rId9"/>
    <p:sldLayoutId id="2147483668" r:id="rId10"/>
    <p:sldLayoutId id="2147483684" r:id="rId11"/>
    <p:sldLayoutId id="2147483649" r:id="rId12"/>
  </p:sldLayoutIdLst>
  <p:timing>
    <p:tnLst>
      <p:par>
        <p:cTn id="1" dur="indefinite" restart="never" nodeType="tmRoot"/>
      </p:par>
    </p:tnLst>
  </p:timing>
  <p:hf hd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</p:sldLayoutIdLst>
  <p:timing>
    <p:tnLst>
      <p:par>
        <p:cTn id="1" dur="indefinite" restart="never" nodeType="tmRoot"/>
      </p:par>
    </p:tnLst>
  </p:timing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4.jpe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png"/><Relationship Id="rId5" Type="http://schemas.openxmlformats.org/officeDocument/2006/relationships/image" Target="../media/image26.png"/><Relationship Id="rId10" Type="http://schemas.openxmlformats.org/officeDocument/2006/relationships/image" Target="../media/image30.jpeg"/><Relationship Id="rId4" Type="http://schemas.openxmlformats.org/officeDocument/2006/relationships/image" Target="../media/image25.jpeg"/><Relationship Id="rId9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13" Type="http://schemas.openxmlformats.org/officeDocument/2006/relationships/diagramLayout" Target="../diagrams/layout8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12" Type="http://schemas.openxmlformats.org/officeDocument/2006/relationships/diagramData" Target="../diagrams/data8.xml"/><Relationship Id="rId2" Type="http://schemas.openxmlformats.org/officeDocument/2006/relationships/diagramData" Target="../diagrams/data6.xml"/><Relationship Id="rId16" Type="http://schemas.microsoft.com/office/2007/relationships/diagramDrawing" Target="../diagrams/drawing8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5" Type="http://schemas.openxmlformats.org/officeDocument/2006/relationships/diagramColors" Target="../diagrams/colors8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Relationship Id="rId14" Type="http://schemas.openxmlformats.org/officeDocument/2006/relationships/diagramQuickStyle" Target="../diagrams/quickStyle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gif"/><Relationship Id="rId7" Type="http://schemas.openxmlformats.org/officeDocument/2006/relationships/image" Target="../media/image47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2241000"/>
            <a:ext cx="9906000" cy="11880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fr-FR" sz="2800" cap="all" dirty="0">
                <a:solidFill>
                  <a:srgbClr val="0070C0"/>
                </a:solidFill>
              </a:rPr>
              <a:t>ANALYSE, organisation ET OPTIMISATION DU PROCESSUS DE développement applicatif </a:t>
            </a:r>
            <a:r>
              <a:rPr lang="fr-FR" sz="2800" cap="all" dirty="0" smtClean="0">
                <a:solidFill>
                  <a:srgbClr val="0070C0"/>
                </a:solidFill>
              </a:rPr>
              <a:t>du projet SNCF-Fret</a:t>
            </a:r>
            <a:endParaRPr lang="fr-FR" dirty="0">
              <a:solidFill>
                <a:srgbClr val="0070C0"/>
              </a:solidFill>
            </a:endParaRPr>
          </a:p>
        </p:txBody>
      </p:sp>
      <p:sp>
        <p:nvSpPr>
          <p:cNvPr id="3" name="Sous-titre 1"/>
          <p:cNvSpPr txBox="1">
            <a:spLocks/>
          </p:cNvSpPr>
          <p:nvPr/>
        </p:nvSpPr>
        <p:spPr>
          <a:xfrm>
            <a:off x="2306241" y="1022553"/>
            <a:ext cx="5293519" cy="648072"/>
          </a:xfrm>
          <a:prstGeom prst="rect">
            <a:avLst/>
          </a:prstGeom>
        </p:spPr>
        <p:txBody>
          <a:bodyPr/>
          <a:lstStyle>
            <a:lvl1pPr marL="269875" indent="-269875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fr-FR" sz="24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166688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fr-FR" sz="20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7800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Courier New" pitchFamily="49" charset="0"/>
              <a:buChar char="o"/>
              <a:defRPr lang="fr-FR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itchFamily="34" charset="0"/>
              <a:buChar char="–"/>
              <a:defRPr lang="fr-FR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sz="2800" b="1" dirty="0" smtClean="0"/>
              <a:t>Projet</a:t>
            </a:r>
            <a:r>
              <a:rPr lang="en-US" sz="2800" b="1" dirty="0" smtClean="0"/>
              <a:t> de fin d’étude</a:t>
            </a:r>
          </a:p>
        </p:txBody>
      </p:sp>
      <p:sp>
        <p:nvSpPr>
          <p:cNvPr id="4" name="Sous-titre 1"/>
          <p:cNvSpPr txBox="1">
            <a:spLocks/>
          </p:cNvSpPr>
          <p:nvPr/>
        </p:nvSpPr>
        <p:spPr>
          <a:xfrm>
            <a:off x="6098006" y="4205057"/>
            <a:ext cx="3600401" cy="1728192"/>
          </a:xfrm>
          <a:prstGeom prst="rect">
            <a:avLst/>
          </a:prstGeom>
        </p:spPr>
        <p:txBody>
          <a:bodyPr/>
          <a:lstStyle>
            <a:lvl1pPr marL="269875" indent="-269875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fr-FR" sz="24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166688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fr-FR" sz="20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7800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Courier New" pitchFamily="49" charset="0"/>
              <a:buChar char="o"/>
              <a:defRPr lang="fr-FR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itchFamily="34" charset="0"/>
              <a:buChar char="–"/>
              <a:defRPr lang="fr-FR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Encadré</a:t>
            </a:r>
            <a:r>
              <a:rPr lang="en-US" dirty="0" smtClean="0"/>
              <a:t> par :</a:t>
            </a:r>
          </a:p>
          <a:p>
            <a:r>
              <a:rPr lang="en-US" dirty="0"/>
              <a:t>BELASLA  El </a:t>
            </a:r>
            <a:r>
              <a:rPr lang="en-US" dirty="0" smtClean="0"/>
              <a:t>Mehdi</a:t>
            </a:r>
            <a:endParaRPr lang="en-US" dirty="0" smtClean="0"/>
          </a:p>
          <a:p>
            <a:r>
              <a:rPr lang="en-US" dirty="0"/>
              <a:t>BENICHOU </a:t>
            </a:r>
            <a:r>
              <a:rPr lang="en-US" dirty="0" err="1" smtClean="0"/>
              <a:t>Jaouad</a:t>
            </a:r>
            <a:endParaRPr lang="en-US" dirty="0" smtClean="0"/>
          </a:p>
          <a:p>
            <a:r>
              <a:rPr lang="en-US" dirty="0" smtClean="0"/>
              <a:t>LAHLOU </a:t>
            </a:r>
            <a:r>
              <a:rPr lang="en-US" dirty="0" smtClean="0"/>
              <a:t>Mehdi</a:t>
            </a:r>
          </a:p>
          <a:p>
            <a:endParaRPr lang="en-US" dirty="0"/>
          </a:p>
        </p:txBody>
      </p:sp>
      <p:sp>
        <p:nvSpPr>
          <p:cNvPr id="5" name="Sous-titre 1"/>
          <p:cNvSpPr txBox="1">
            <a:spLocks/>
          </p:cNvSpPr>
          <p:nvPr/>
        </p:nvSpPr>
        <p:spPr>
          <a:xfrm>
            <a:off x="128464" y="4205057"/>
            <a:ext cx="3600401" cy="1728192"/>
          </a:xfrm>
          <a:prstGeom prst="rect">
            <a:avLst/>
          </a:prstGeom>
        </p:spPr>
        <p:txBody>
          <a:bodyPr/>
          <a:lstStyle>
            <a:lvl1pPr marL="269875" indent="-269875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fr-FR" sz="24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166688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fr-FR" sz="20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7800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Courier New" pitchFamily="49" charset="0"/>
              <a:buChar char="o"/>
              <a:defRPr lang="fr-FR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itchFamily="34" charset="0"/>
              <a:buChar char="–"/>
              <a:defRPr lang="fr-FR" sz="16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Réalisé </a:t>
            </a:r>
            <a:r>
              <a:rPr lang="en-US" dirty="0" smtClean="0"/>
              <a:t>par :</a:t>
            </a:r>
          </a:p>
          <a:p>
            <a:r>
              <a:rPr lang="en-US" dirty="0" smtClean="0"/>
              <a:t>ZINOUN </a:t>
            </a:r>
            <a:r>
              <a:rPr lang="en-US" dirty="0" err="1" smtClean="0"/>
              <a:t>Badr-Eddine</a:t>
            </a:r>
            <a:endParaRPr lang="en-US" dirty="0"/>
          </a:p>
        </p:txBody>
      </p:sp>
      <p:sp>
        <p:nvSpPr>
          <p:cNvPr id="7" name="AutoShape 2" descr="data:image/jpeg;base64,/9j/4AAQSkZJRgABAQAAAQABAAD/2wCEAAkGBhMSDhQTERIUEhUUFR4UGRMYGBUYGhweHRsXFx4cGBgcHiYhFxojGRcYJi8hLycqLDgsFx4xNTA2QSctLCkBCQoKDgwOGQ8PFykeHSAvNTUuNSw1NS81NTUsNSkpNSs1Kik1LTUyKTI1NTU1MC02Ki4vNSovKSwsKikpMjUsKf/AABEIAEQAngMBIgACEQEDEQH/xAAcAAEAAgMBAQEAAAAAAAAAAAAAAwUEBgcCCAH/xAA7EAACAQMBBQYDBAgHAAAAAAABAgMABBEFEiExQVEGBxMiYXEUUoFCkaGxIyQyM2LB0fAWQ3KDouHx/8QAGQEBAAMBAQAAAAAAAAAAAAAAAAEDBAIF/8QALhEAAgECAwUFCQAAAAAAAAAAAAECAxESITEEE6Gx8FFSYdHxBSNBQmJxgZHB/9oADAMBAAIRAxEAPwDuNK8eKNrHOobyQqA3Q7/aobSVwTyNgZ6UjfIBHOgOR71iWD4ZkP2Tu9jXLlZpdoM2lKV2BSlKAUpSgFKVz7vH16/tZ43gytuqgswUEFto5VzjyjGzjhxNAdBpUcEoZFYcGAYfUZqSgFKUoBSlKAUpSgMPUlOxtDipzUhYPFnkRTUD+ib2rE0mTMJHTIqhu1VRekly9QS6RNmPB4ruqF32br3GDUeht5mH1rzfti5H0/HIrPje4jLutcHYF1SgqunvHkysGByMxGVXrsj7bD7uvSt4PQ1yD4n4bxV8bZ2vD54/LON+OOKz64Z2dv0TVZLtpG8KJncyMdp3zlVH8TOTw9+ldH7Kd4cV9M0QjeJgpYbRBBA47xwO8bqA2ylc47Ud7QilMdoiybJw0rZ2SeigYz75raux/ahb62EgGy6nZdOOD6ehG8UBdySBQSxAAGSScADqTyrFiuYLmJgrRzxnKNgq6+oOPStV7271U03YPGSRVH08xP4fjWT3YaX4OmRt9qYmU+x3L/xA+80Ba2B+EUQyE+Eu6KU8hySQ8iOAbgRjnxsJdQiVwjSIrtwUsoY+wJya532x7yi03wWnMrysdgupVjnmsY5nq3v71rGqdmLa2jJ1DUYoblsERjMhX/XjzflQHc6Vg6JKGtYWWUTAxriUcH3DzfWq+71gySeFCeeMjn138h61TWrxpLPV6HLlYvs0rT72RYnK7e02PNjO49M86q+8XvAXS7OGNSfHnU7JxnZXm2OuTgf9VTQ2rezcLWt43IjK7sb1capDG4SSWNGbgrOqk+wJyayq+b9OZL9o0tBc3Ny52ppGXEaZ5Mx3kjmxPLAFfRdrEVjVSclVAJ64GM1sOyPUf3Le1VnZ0foZD1Y/kKsdVkCwOT0qHSbbYtgDxIyfrWOccW0w+lPjZL+gr+z376T6fzr81g/rSY+ZfzrI7Nxbnfq2B9P7NR6hHtXsY+tYsLex270uc/IF1LCGXDZxzGSM+h9K1XvR14WWjXDqdlmTwY8bsF/Lu6YXJ+lbdVN2p7J2+oW/g3SlkDBxssVIIyMgj0J++vZBxDuh7u5b/wDWbuSX4VW8se2w8VhuPA7kG8E8ScjrWv8Aau2m/wAQT2mnmRNqXwUjjd1G8AMOO5eJPLGa+ndK0yO2gjghXYjjUIq9APzPrWpdmO66O01S5v2lM0kzMyAqB4Yc5bfk7Tcgd27PWgPfYruwt7K1KTAXM0i4lkfzcRvVAf2U/E8T6c2RZuzOslnEkthceXb3ny5yP9xDy5jPWu/VDd2aSoUlRZFPFWAYH3BoDg3evqy6xqVha2MgmVlztLvALtgk9CqJkjlW598PaRtM0iOC1yhlHw6uOKIq78H5iMDPqTW72vZa1iufiI7eNJtgR7ajBCjkBwX6CpNb7PW95GI7qFZkDBgrciOYxQHzF3dxXrl49Mh/WJPK14f8qPdkK2MREnOW3sRgDG/Nx3kd0L6fZR3XjtcsXxOSu4FuDA5yRncSeZHXFfRun6bFBGI4I0iQcERQo+4VJc2qSIySKrowwysAQQeRB4igNK7M9oLVNGtoraZCxt1CoGBcHADllG9cEnjzxX7ps8mDHAvnfi4446D5R61sGjdjrO0Di2to4hJ+3gZz6EnJx6cKsAkcMZICooGTgY/9rztp2WVWqp48KS9SuUbu9zU7nSws0cIO05wXPLeeA9hmufd8YWDtDY3F1GXtQkYIxlSEkcuMc8BlOOYNdS7OxGWaSduuB7n+gwKtda0S3uovCuoklQnOyw59QeIPqK59nU4xjKolZSeX2WSIpr4mov3oaPaxBbZ0cscrBbR+Zif4VAAJPXfV/o8c9yPGvI/BDD9Ha5yVHzSsNxkPyjco3byTXjQ+wFhZvt21rHG/z72YexYkr9K2GvTLTDvbcyMq/ZB2j644D76/dRl2YWxxIwB6ncKy6ikhDEE8t+KrlDJ21ZBHp1r4cSr0G+sK2TbvHfkgCD34n+/WrOV8KTUGnW+ym/ix2j7mq5U1eEVpHP8AWS68AZVKUrQSKUpQClKUApSlAKUpQEQbaJxwG73P9KoNcvjM4t4d+T5iOHt7DnU91Y3ODHG67BJOeDYJzgn61maToywD5nPFv5DoK82pva/usLivmb5LzK3eWQlX4a1ITGVGMnqSBk/U1g3krq4jdhJ5o3BKgHe+CMVfEZ40KDoKvqbO5K0ZWVrc+vwS4lHFqb7Ej+IGcKx8DA8uDj3OKm0S7kcttMrrgbwVyD03csVahBnOBk86KgHAAe1RChNSTc3lx59aBRfaeqUpWw7Pwiv2lKAUpSgFKUoBSlKAUpSgFKUoBSlKAUpSgFKUoD//2Q=="/>
          <p:cNvSpPr>
            <a:spLocks noChangeAspect="1" noChangeArrowheads="1"/>
          </p:cNvSpPr>
          <p:nvPr/>
        </p:nvSpPr>
        <p:spPr bwMode="auto">
          <a:xfrm>
            <a:off x="155576" y="-144463"/>
            <a:ext cx="304799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7172" name="Picture 4" descr="http://miage.unice.fr/@api/deki/files/8/=logo_miage-petit_transparen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5602" y="6048374"/>
            <a:ext cx="1885950" cy="809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www.loopingcommunication.fr/wp-content/uploads/2011/09/Unic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426" y="-15558"/>
            <a:ext cx="1213575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http://www.finaperf.com/images/logos/240x180/cap-gemini.jpe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994420"/>
            <a:ext cx="1037861" cy="778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49845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ojet SNCF Fret</a:t>
            </a:r>
            <a:endParaRPr lang="fr-FR" dirty="0"/>
          </a:p>
        </p:txBody>
      </p:sp>
      <p:sp>
        <p:nvSpPr>
          <p:cNvPr id="6" name="Flèche droite 5"/>
          <p:cNvSpPr/>
          <p:nvPr/>
        </p:nvSpPr>
        <p:spPr>
          <a:xfrm>
            <a:off x="3584848" y="2637984"/>
            <a:ext cx="5616624" cy="1584176"/>
          </a:xfrm>
          <a:prstGeom prst="rightArrow">
            <a:avLst/>
          </a:prstGeom>
          <a:ln>
            <a:noFill/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935676872"/>
              </p:ext>
            </p:extLst>
          </p:nvPr>
        </p:nvGraphicFramePr>
        <p:xfrm>
          <a:off x="1651000" y="1227667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13181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63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 0 E" pathEditMode="relative" ptsTypes="">
                                      <p:cBhvr>
                                        <p:cTn id="9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190" y="1219216"/>
            <a:ext cx="7962900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5550" y="19275"/>
            <a:ext cx="9906000" cy="1188000"/>
          </a:xfrm>
        </p:spPr>
        <p:txBody>
          <a:bodyPr/>
          <a:lstStyle/>
          <a:p>
            <a:r>
              <a:rPr lang="fr-FR" dirty="0" smtClean="0"/>
              <a:t>But du projet </a:t>
            </a:r>
            <a:endParaRPr lang="fr-FR" dirty="0"/>
          </a:p>
        </p:txBody>
      </p:sp>
      <p:sp>
        <p:nvSpPr>
          <p:cNvPr id="3" name="Flèche droite 2"/>
          <p:cNvSpPr/>
          <p:nvPr/>
        </p:nvSpPr>
        <p:spPr>
          <a:xfrm>
            <a:off x="-4120008" y="2636912"/>
            <a:ext cx="5184576" cy="1584176"/>
          </a:xfrm>
          <a:prstGeom prst="rightArrow">
            <a:avLst/>
          </a:prstGeom>
          <a:ln>
            <a:noFill/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Chevron 4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6" name="Chevron 5"/>
          <p:cNvSpPr/>
          <p:nvPr/>
        </p:nvSpPr>
        <p:spPr>
          <a:xfrm rot="10800000">
            <a:off x="9529604" y="3712765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7" name="Chevron 6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13" name="Chevron 12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4" name="Rectangle 13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16" name="Chevron 15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grpSp>
        <p:nvGrpSpPr>
          <p:cNvPr id="21" name="Groupe 20"/>
          <p:cNvGrpSpPr/>
          <p:nvPr/>
        </p:nvGrpSpPr>
        <p:grpSpPr>
          <a:xfrm>
            <a:off x="7096140" y="1714489"/>
            <a:ext cx="2705500" cy="430616"/>
            <a:chOff x="7096140" y="1714489"/>
            <a:chExt cx="2705500" cy="430616"/>
          </a:xfrm>
        </p:grpSpPr>
        <p:sp>
          <p:nvSpPr>
            <p:cNvPr id="15" name="Chevron 14"/>
            <p:cNvSpPr/>
            <p:nvPr/>
          </p:nvSpPr>
          <p:spPr>
            <a:xfrm rot="10800000">
              <a:off x="7096140" y="1714489"/>
              <a:ext cx="2705500" cy="430616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17" name="Rectangle 16"/>
            <p:cNvSpPr/>
            <p:nvPr/>
          </p:nvSpPr>
          <p:spPr>
            <a:xfrm>
              <a:off x="7157592" y="1734367"/>
              <a:ext cx="259564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2-L’organisme d’accueil</a:t>
              </a:r>
            </a:p>
          </p:txBody>
        </p:sp>
      </p:grpSp>
      <p:sp>
        <p:nvSpPr>
          <p:cNvPr id="18" name="Rectangle 17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19" name="Chevron 18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0" name="Rectangle 19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1023910" y="5429264"/>
            <a:ext cx="7648376" cy="954107"/>
          </a:xfrm>
          <a:prstGeom prst="rect">
            <a:avLst/>
          </a:prstGeom>
          <a:effectLst>
            <a:glow rad="228600">
              <a:schemeClr val="accent5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2800" dirty="0" smtClean="0"/>
              <a:t>Etudier , Analyser et Améliorer le processus de développement applicatif </a:t>
            </a: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38457719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6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5550" y="19275"/>
            <a:ext cx="9906000" cy="1188000"/>
          </a:xfrm>
        </p:spPr>
        <p:txBody>
          <a:bodyPr/>
          <a:lstStyle/>
          <a:p>
            <a:r>
              <a:rPr lang="fr-FR" dirty="0" smtClean="0"/>
              <a:t>Phases du projet</a:t>
            </a:r>
            <a:endParaRPr lang="fr-FR" dirty="0"/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3606122599"/>
              </p:ext>
            </p:extLst>
          </p:nvPr>
        </p:nvGraphicFramePr>
        <p:xfrm>
          <a:off x="1651000" y="1227667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6253683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0" y="2786058"/>
            <a:ext cx="104537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 smtClean="0">
                <a:solidFill>
                  <a:srgbClr val="3399FF"/>
                </a:solidFill>
                <a:latin typeface="Cooper Black" pitchFamily="18" charset="0"/>
              </a:rPr>
              <a:t>……………………………………………..</a:t>
            </a:r>
            <a:endParaRPr lang="fr-FR" b="1" dirty="0">
              <a:solidFill>
                <a:srgbClr val="3399FF"/>
              </a:solidFill>
              <a:latin typeface="Cooper Black" pitchFamily="18" charset="0"/>
            </a:endParaRPr>
          </a:p>
        </p:txBody>
      </p:sp>
      <p:sp>
        <p:nvSpPr>
          <p:cNvPr id="16" name="Titre 2"/>
          <p:cNvSpPr txBox="1">
            <a:spLocks/>
          </p:cNvSpPr>
          <p:nvPr/>
        </p:nvSpPr>
        <p:spPr bwMode="black">
          <a:xfrm>
            <a:off x="881034" y="2143116"/>
            <a:ext cx="7572428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4800" dirty="0" smtClean="0">
                <a:latin typeface="+mn-lt"/>
              </a:rPr>
              <a:t>Planification du projet</a:t>
            </a:r>
            <a:endParaRPr lang="fr-FR" dirty="0">
              <a:latin typeface="+mn-lt"/>
            </a:endParaRPr>
          </a:p>
        </p:txBody>
      </p:sp>
    </p:spTree>
  </p:cSld>
  <p:clrMapOvr>
    <a:masterClrMapping/>
  </p:clrMapOvr>
  <p:transition advClick="0" advTm="1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"/>
          <p:cNvSpPr txBox="1"/>
          <p:nvPr/>
        </p:nvSpPr>
        <p:spPr>
          <a:xfrm>
            <a:off x="1881166" y="0"/>
            <a:ext cx="29289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rgbClr val="009BCC"/>
                </a:solidFill>
                <a:cs typeface="Arial" pitchFamily="34" charset="0"/>
              </a:rPr>
              <a:t>MATRICE</a:t>
            </a:r>
            <a:endParaRPr lang="en-US" sz="4800" b="1" dirty="0">
              <a:solidFill>
                <a:srgbClr val="009BCC"/>
              </a:solidFill>
              <a:cs typeface="Arial" pitchFamily="34" charset="0"/>
            </a:endParaRPr>
          </a:p>
        </p:txBody>
      </p:sp>
      <p:sp>
        <p:nvSpPr>
          <p:cNvPr id="4" name="TextBox 8"/>
          <p:cNvSpPr txBox="1"/>
          <p:nvPr/>
        </p:nvSpPr>
        <p:spPr>
          <a:xfrm>
            <a:off x="4810124" y="0"/>
            <a:ext cx="17418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rgbClr val="009BCC"/>
                </a:solidFill>
                <a:cs typeface="Arial" pitchFamily="34" charset="0"/>
              </a:rPr>
              <a:t>DES</a:t>
            </a:r>
            <a:endParaRPr lang="en-US" sz="4800" b="1" dirty="0">
              <a:solidFill>
                <a:srgbClr val="009BCC"/>
              </a:solidFill>
              <a:cs typeface="Arial" pitchFamily="34" charset="0"/>
            </a:endParaRPr>
          </a:p>
        </p:txBody>
      </p:sp>
      <p:sp>
        <p:nvSpPr>
          <p:cNvPr id="5" name="TextBox 9"/>
          <p:cNvSpPr txBox="1"/>
          <p:nvPr/>
        </p:nvSpPr>
        <p:spPr>
          <a:xfrm>
            <a:off x="6810388" y="0"/>
            <a:ext cx="28109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rgbClr val="009BCC"/>
                </a:solidFill>
                <a:cs typeface="Arial" pitchFamily="34" charset="0"/>
              </a:rPr>
              <a:t>SQUES</a:t>
            </a:r>
            <a:endParaRPr lang="en-US" sz="4800" b="1" dirty="0">
              <a:solidFill>
                <a:srgbClr val="009BCC"/>
              </a:solidFill>
              <a:cs typeface="Arial" pitchFamily="34" charset="0"/>
            </a:endParaRPr>
          </a:p>
        </p:txBody>
      </p:sp>
      <p:sp>
        <p:nvSpPr>
          <p:cNvPr id="6" name="TextBox 12"/>
          <p:cNvSpPr txBox="1"/>
          <p:nvPr/>
        </p:nvSpPr>
        <p:spPr>
          <a:xfrm>
            <a:off x="6167446" y="0"/>
            <a:ext cx="9616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rgbClr val="009BCC"/>
                </a:solidFill>
                <a:cs typeface="Arial" pitchFamily="34" charset="0"/>
              </a:rPr>
              <a:t>RI</a:t>
            </a:r>
            <a:endParaRPr lang="en-US" sz="4800" b="1" dirty="0">
              <a:solidFill>
                <a:srgbClr val="009BCC"/>
              </a:solidFill>
              <a:cs typeface="Arial" pitchFamily="34" charset="0"/>
            </a:endParaRPr>
          </a:p>
        </p:txBody>
      </p:sp>
      <p:graphicFrame>
        <p:nvGraphicFramePr>
          <p:cNvPr id="7" name="Tableau 6"/>
          <p:cNvGraphicFramePr>
            <a:graphicFrameLocks noGrp="1"/>
          </p:cNvGraphicFramePr>
          <p:nvPr/>
        </p:nvGraphicFramePr>
        <p:xfrm>
          <a:off x="380970" y="714358"/>
          <a:ext cx="7929616" cy="6143642"/>
        </p:xfrm>
        <a:graphic>
          <a:graphicData uri="http://schemas.openxmlformats.org/drawingml/2006/table">
            <a:tbl>
              <a:tblPr/>
              <a:tblGrid>
                <a:gridCol w="1547389"/>
                <a:gridCol w="859492"/>
                <a:gridCol w="885082"/>
                <a:gridCol w="1428475"/>
                <a:gridCol w="3209178"/>
              </a:tblGrid>
              <a:tr h="31755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es risques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e type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Occurrence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Impact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ction correctives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9387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Erreur Organisationnelle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FF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 : Risque Bloquant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6 : Echec du projet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Prévoir des réunions et des points de validation avec l’encadrant fonctionnel au fur et à mesure de l’avancement du projet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</a:tr>
              <a:tr h="9526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es compétences insuffisantes pour la mise en œuvre du projet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B05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 : Risque non Bloquant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 : Retarder projet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Effectuer une auto formation et d’autres recherches afin de mettre en œuvre la solution adéquate.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79387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a contrainte de temps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B05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 : Risque non Bloquant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 : Le projet ne sera pas achevé dans la date prévue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juster le planning pour respecter la planification faite au départ.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</a:tr>
              <a:tr h="79387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es pannes inattendues du Matériel (Bugs)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B05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 : Risque non Bloquant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 : Ralentissement des travaux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Utiliser les autres matériaux disponibles. Recours à une réparation rapide.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351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bsence ou maladie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B05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 :Risque non Bloquant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 : Ralentissement des travaux</a:t>
                      </a:r>
                      <a:r>
                        <a:rPr lang="fr-FR" sz="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travailler en temps extra.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</a:tr>
              <a:tr h="79387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Garamond"/>
                        </a:rPr>
                        <a:t>Le projet est inutilisable sans un temps excessif de formation. 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FF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 : Risque Bloquant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 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4 : Retarder la mise en production du projet 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Veiller à chaque étape de réalisation à intégrer l’ergonomie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Consolider la documentation </a:t>
                      </a: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utilisateur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79387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Garamond"/>
                        </a:rPr>
                        <a:t>l'un des membres de l’équipe a raté une formation 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B05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 : Risque non Bloquant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 : Retarder la production </a:t>
                      </a:r>
                      <a:endParaRPr lang="fr-FR" sz="110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Garamond"/>
                        </a:rPr>
                        <a:t>Planifier des formations inter-collaborateurs afin de réduire la charge en coût et en temps de la formation 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FEE"/>
                    </a:solidFill>
                  </a:tcPr>
                </a:tc>
              </a:tr>
              <a:tr h="268942">
                <a:tc grid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Occurrence : | 1 : Faible | 2 : Moyen | 3 : Fort |</a:t>
                      </a:r>
                      <a:endParaRPr lang="fr-FR" sz="1100" dirty="0">
                        <a:solidFill>
                          <a:srgbClr val="000000"/>
                        </a:solidFill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7012" marR="67012" marT="0" marB="0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1" y="0"/>
            <a:ext cx="184731" cy="369332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24" name="Chevron 23"/>
          <p:cNvSpPr/>
          <p:nvPr/>
        </p:nvSpPr>
        <p:spPr>
          <a:xfrm rot="10800000">
            <a:off x="9538748" y="3500439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5" name="Chevron 24"/>
          <p:cNvSpPr/>
          <p:nvPr/>
        </p:nvSpPr>
        <p:spPr>
          <a:xfrm rot="10800000">
            <a:off x="9529604" y="399851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6" name="Chevron 25"/>
          <p:cNvSpPr/>
          <p:nvPr/>
        </p:nvSpPr>
        <p:spPr>
          <a:xfrm rot="10800000">
            <a:off x="9540512" y="450057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8" name="Rectangle 27"/>
          <p:cNvSpPr/>
          <p:nvPr/>
        </p:nvSpPr>
        <p:spPr>
          <a:xfrm>
            <a:off x="9600200" y="3520316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9" name="Rectangle 28"/>
          <p:cNvSpPr/>
          <p:nvPr/>
        </p:nvSpPr>
        <p:spPr>
          <a:xfrm>
            <a:off x="9610139" y="4030321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30" name="Rectangle 29"/>
          <p:cNvSpPr/>
          <p:nvPr/>
        </p:nvSpPr>
        <p:spPr>
          <a:xfrm>
            <a:off x="9600200" y="453038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2" name="Chevron 31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Chevron 32"/>
          <p:cNvSpPr/>
          <p:nvPr/>
        </p:nvSpPr>
        <p:spPr>
          <a:xfrm rot="10800000">
            <a:off x="9525032" y="3000373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4" name="Rectangle 33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605567" y="3032177"/>
            <a:ext cx="23391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  <a:endParaRPr lang="fr-FR" dirty="0"/>
          </a:p>
        </p:txBody>
      </p:sp>
      <p:sp>
        <p:nvSpPr>
          <p:cNvPr id="36" name="Chevron 35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7" name="Rectangle 36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grpSp>
        <p:nvGrpSpPr>
          <p:cNvPr id="2" name="Groupe 37"/>
          <p:cNvGrpSpPr/>
          <p:nvPr/>
        </p:nvGrpSpPr>
        <p:grpSpPr>
          <a:xfrm>
            <a:off x="9525032" y="2214566"/>
            <a:ext cx="2937840" cy="714368"/>
            <a:chOff x="9516150" y="2714624"/>
            <a:chExt cx="2937840" cy="714382"/>
          </a:xfrm>
        </p:grpSpPr>
        <p:grpSp>
          <p:nvGrpSpPr>
            <p:cNvPr id="8" name="Groupe 23"/>
            <p:cNvGrpSpPr/>
            <p:nvPr/>
          </p:nvGrpSpPr>
          <p:grpSpPr>
            <a:xfrm>
              <a:off x="9546052" y="2714624"/>
              <a:ext cx="2907938" cy="714382"/>
              <a:chOff x="9546052" y="2714616"/>
              <a:chExt cx="2765062" cy="430616"/>
            </a:xfrm>
          </p:grpSpPr>
          <p:sp>
            <p:nvSpPr>
              <p:cNvPr id="41" name="Chevron 40"/>
              <p:cNvSpPr/>
              <p:nvPr/>
            </p:nvSpPr>
            <p:spPr>
              <a:xfrm rot="10800000">
                <a:off x="9546052" y="2714616"/>
                <a:ext cx="2765062" cy="430616"/>
              </a:xfrm>
              <a:prstGeom prst="chevron">
                <a:avLst/>
              </a:prstGeom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42" name="Rectangle 41"/>
              <p:cNvSpPr/>
              <p:nvPr/>
            </p:nvSpPr>
            <p:spPr>
              <a:xfrm>
                <a:off x="9742270" y="2732240"/>
                <a:ext cx="1419374" cy="38960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fr-FR" dirty="0" smtClean="0"/>
                  <a:t> Planification</a:t>
                </a:r>
              </a:p>
              <a:p>
                <a:r>
                  <a:rPr lang="fr-FR" dirty="0" smtClean="0"/>
                  <a:t>  du projet</a:t>
                </a:r>
              </a:p>
            </p:txBody>
          </p:sp>
        </p:grpSp>
        <p:sp>
          <p:nvSpPr>
            <p:cNvPr id="40" name="Rectangle 39"/>
            <p:cNvSpPr/>
            <p:nvPr/>
          </p:nvSpPr>
          <p:spPr>
            <a:xfrm>
              <a:off x="9516150" y="2916792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3-</a:t>
              </a:r>
              <a:endParaRPr lang="fr-FR" dirty="0"/>
            </a:p>
          </p:txBody>
        </p:sp>
      </p:grpSp>
      <p:sp>
        <p:nvSpPr>
          <p:cNvPr id="27" name="Rectangle 26"/>
          <p:cNvSpPr/>
          <p:nvPr/>
        </p:nvSpPr>
        <p:spPr>
          <a:xfrm>
            <a:off x="238092" y="1285860"/>
            <a:ext cx="2857520" cy="5847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r-FR" sz="1600" b="1" dirty="0" smtClean="0"/>
              <a:t>Mauvaise </a:t>
            </a:r>
            <a:r>
              <a:rPr lang="fr-FR" sz="1600" b="1" dirty="0" smtClean="0"/>
              <a:t>utilisation de la solution . 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453066" y="1234300"/>
            <a:ext cx="2857520" cy="73866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r-FR" sz="1400" b="1" dirty="0" smtClean="0"/>
              <a:t>Prévoir une formation des utilisateurs pour une meilleure exploitation de la solution </a:t>
            </a:r>
            <a:endParaRPr lang="fr-FR" sz="1200" dirty="0" smtClean="0"/>
          </a:p>
        </p:txBody>
      </p:sp>
      <p:sp>
        <p:nvSpPr>
          <p:cNvPr id="38" name="Flèche droite 37"/>
          <p:cNvSpPr/>
          <p:nvPr/>
        </p:nvSpPr>
        <p:spPr>
          <a:xfrm>
            <a:off x="3309926" y="1500174"/>
            <a:ext cx="1857388" cy="285752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/>
          <p:cNvSpPr/>
          <p:nvPr/>
        </p:nvSpPr>
        <p:spPr>
          <a:xfrm>
            <a:off x="166654" y="2772217"/>
            <a:ext cx="2857520" cy="5847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r-FR" sz="1600" b="1" dirty="0" smtClean="0"/>
              <a:t>Resistance aux changement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5381628" y="2780928"/>
            <a:ext cx="2857520" cy="52322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r-FR" sz="1400" b="1" dirty="0" smtClean="0"/>
              <a:t>Prévoir un accompagnement par étapes 	</a:t>
            </a:r>
          </a:p>
        </p:txBody>
      </p:sp>
      <p:sp>
        <p:nvSpPr>
          <p:cNvPr id="51" name="Flèche droite 50"/>
          <p:cNvSpPr/>
          <p:nvPr/>
        </p:nvSpPr>
        <p:spPr>
          <a:xfrm>
            <a:off x="3238488" y="2924944"/>
            <a:ext cx="1857388" cy="285752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/>
          <p:cNvSpPr/>
          <p:nvPr/>
        </p:nvSpPr>
        <p:spPr>
          <a:xfrm>
            <a:off x="115476" y="4244982"/>
            <a:ext cx="2857520" cy="94179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fr-FR" sz="1600" b="1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L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'un 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des membres de l’équipe a raté une formation 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 .</a:t>
            </a:r>
            <a:endParaRPr lang="fr-FR" sz="2000" b="1" dirty="0">
              <a:solidFill>
                <a:srgbClr val="000000"/>
              </a:solidFill>
              <a:latin typeface="Arial" pitchFamily="34" charset="0"/>
              <a:ea typeface="Times New Roman"/>
              <a:cs typeface="Arial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5310190" y="4286257"/>
            <a:ext cx="2857520" cy="95410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  <a:ea typeface="Times New Roman"/>
                <a:cs typeface="Garamond"/>
              </a:rPr>
              <a:t>Planifier des formations inter-collaborateurs afin de réduire la charge en coût et en temps de la formation </a:t>
            </a:r>
            <a:r>
              <a:rPr lang="fr-FR" sz="1400" b="1" dirty="0" smtClean="0">
                <a:solidFill>
                  <a:srgbClr val="000000"/>
                </a:solidFill>
                <a:ea typeface="Times New Roman"/>
                <a:cs typeface="Garamond"/>
              </a:rPr>
              <a:t>.</a:t>
            </a:r>
            <a:endParaRPr lang="fr-FR" b="1" dirty="0" smtClean="0">
              <a:solidFill>
                <a:srgbClr val="000000"/>
              </a:solidFill>
              <a:ea typeface="Times New Roman"/>
              <a:cs typeface="Times New Roman"/>
            </a:endParaRPr>
          </a:p>
        </p:txBody>
      </p:sp>
      <p:sp>
        <p:nvSpPr>
          <p:cNvPr id="54" name="Flèche droite 53"/>
          <p:cNvSpPr/>
          <p:nvPr/>
        </p:nvSpPr>
        <p:spPr>
          <a:xfrm>
            <a:off x="3291373" y="4527531"/>
            <a:ext cx="1857388" cy="285752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2275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6357E-7 5.55112E-17 L -0.13003 -0.0009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500"/>
                            </p:stCondLst>
                            <p:childTnLst>
                              <p:par>
                                <p:cTn id="2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27" grpId="0" animBg="1"/>
      <p:bldP spid="31" grpId="0" animBg="1"/>
      <p:bldP spid="3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785794"/>
          </a:xfrm>
        </p:spPr>
        <p:txBody>
          <a:bodyPr tIns="0" bIns="0"/>
          <a:lstStyle/>
          <a:p>
            <a:r>
              <a:rPr lang="fr-FR" dirty="0" smtClean="0"/>
              <a:t>Planning prévisionnel</a:t>
            </a:r>
            <a:endParaRPr lang="fr-FR" dirty="0"/>
          </a:p>
        </p:txBody>
      </p:sp>
      <p:pic>
        <p:nvPicPr>
          <p:cNvPr id="3" name="Image 2" descr="C:\Users\Badr-Eddine\Desktop\Gant\PFE_Gant_P.gif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68" y="785794"/>
            <a:ext cx="9525032" cy="6072206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Chevron 18"/>
          <p:cNvSpPr/>
          <p:nvPr/>
        </p:nvSpPr>
        <p:spPr>
          <a:xfrm rot="10800000">
            <a:off x="9538748" y="3500439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0" name="Chevron 19"/>
          <p:cNvSpPr/>
          <p:nvPr/>
        </p:nvSpPr>
        <p:spPr>
          <a:xfrm rot="10800000">
            <a:off x="9529604" y="399851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1" name="Chevron 20"/>
          <p:cNvSpPr/>
          <p:nvPr/>
        </p:nvSpPr>
        <p:spPr>
          <a:xfrm rot="10800000">
            <a:off x="9540512" y="450057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0200" y="3520316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4" name="Rectangle 23"/>
          <p:cNvSpPr/>
          <p:nvPr/>
        </p:nvSpPr>
        <p:spPr>
          <a:xfrm>
            <a:off x="9610139" y="4030321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9600200" y="453038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27" name="Chevron 26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8" name="Chevron 27"/>
          <p:cNvSpPr/>
          <p:nvPr/>
        </p:nvSpPr>
        <p:spPr>
          <a:xfrm rot="10800000">
            <a:off x="9525032" y="2998384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9" name="Rectangle 28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0" name="Rectangle 29"/>
          <p:cNvSpPr/>
          <p:nvPr/>
        </p:nvSpPr>
        <p:spPr>
          <a:xfrm>
            <a:off x="9605567" y="3030188"/>
            <a:ext cx="23391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  <a:endParaRPr lang="fr-FR" dirty="0"/>
          </a:p>
        </p:txBody>
      </p:sp>
      <p:sp>
        <p:nvSpPr>
          <p:cNvPr id="31" name="Chevron 30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Rectangle 31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grpSp>
        <p:nvGrpSpPr>
          <p:cNvPr id="33" name="Groupe 37"/>
          <p:cNvGrpSpPr/>
          <p:nvPr/>
        </p:nvGrpSpPr>
        <p:grpSpPr>
          <a:xfrm>
            <a:off x="8310586" y="2214566"/>
            <a:ext cx="2937840" cy="714368"/>
            <a:chOff x="9516150" y="2714632"/>
            <a:chExt cx="2937840" cy="714382"/>
          </a:xfrm>
        </p:grpSpPr>
        <p:grpSp>
          <p:nvGrpSpPr>
            <p:cNvPr id="34" name="Groupe 23"/>
            <p:cNvGrpSpPr/>
            <p:nvPr/>
          </p:nvGrpSpPr>
          <p:grpSpPr>
            <a:xfrm>
              <a:off x="9546052" y="2714632"/>
              <a:ext cx="2907938" cy="714382"/>
              <a:chOff x="9546052" y="2714621"/>
              <a:chExt cx="2765062" cy="430616"/>
            </a:xfrm>
          </p:grpSpPr>
          <p:sp>
            <p:nvSpPr>
              <p:cNvPr id="36" name="Chevron 35"/>
              <p:cNvSpPr/>
              <p:nvPr/>
            </p:nvSpPr>
            <p:spPr>
              <a:xfrm rot="10800000">
                <a:off x="9546052" y="2714621"/>
                <a:ext cx="2765062" cy="430616"/>
              </a:xfrm>
              <a:prstGeom prst="chevron">
                <a:avLst/>
              </a:prstGeom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37" name="Rectangle 36"/>
              <p:cNvSpPr/>
              <p:nvPr/>
            </p:nvSpPr>
            <p:spPr>
              <a:xfrm>
                <a:off x="9742270" y="2732240"/>
                <a:ext cx="1358405" cy="35417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fr-FR" dirty="0" smtClean="0"/>
                  <a:t>Planification</a:t>
                </a:r>
              </a:p>
              <a:p>
                <a:r>
                  <a:rPr lang="fr-FR" dirty="0" smtClean="0"/>
                  <a:t> du projet</a:t>
                </a:r>
              </a:p>
            </p:txBody>
          </p:sp>
        </p:grpSp>
        <p:sp>
          <p:nvSpPr>
            <p:cNvPr id="35" name="Rectangle 34"/>
            <p:cNvSpPr/>
            <p:nvPr/>
          </p:nvSpPr>
          <p:spPr>
            <a:xfrm>
              <a:off x="9516150" y="2916792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3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lanning réel </a:t>
            </a:r>
            <a:endParaRPr lang="fr-FR" dirty="0"/>
          </a:p>
        </p:txBody>
      </p:sp>
      <p:pic>
        <p:nvPicPr>
          <p:cNvPr id="3" name="Image 2" descr="C:\Users\Badr-Eddine\Desktop\Gant\PFE_Gant_L.gif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68" y="928670"/>
            <a:ext cx="9525032" cy="592933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llipse 5"/>
          <p:cNvSpPr/>
          <p:nvPr/>
        </p:nvSpPr>
        <p:spPr>
          <a:xfrm>
            <a:off x="4810124" y="2928934"/>
            <a:ext cx="656590" cy="28575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llipse 22"/>
          <p:cNvSpPr/>
          <p:nvPr/>
        </p:nvSpPr>
        <p:spPr>
          <a:xfrm>
            <a:off x="5238752" y="3429000"/>
            <a:ext cx="500066" cy="21431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Ellipse 23"/>
          <p:cNvSpPr/>
          <p:nvPr/>
        </p:nvSpPr>
        <p:spPr>
          <a:xfrm>
            <a:off x="6238884" y="4714884"/>
            <a:ext cx="656590" cy="28575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Chevron 25"/>
          <p:cNvSpPr/>
          <p:nvPr/>
        </p:nvSpPr>
        <p:spPr>
          <a:xfrm rot="10800000">
            <a:off x="9538748" y="3500439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7" name="Chevron 26"/>
          <p:cNvSpPr/>
          <p:nvPr/>
        </p:nvSpPr>
        <p:spPr>
          <a:xfrm rot="10800000">
            <a:off x="9529604" y="399851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8" name="Chevron 27"/>
          <p:cNvSpPr/>
          <p:nvPr/>
        </p:nvSpPr>
        <p:spPr>
          <a:xfrm rot="10800000">
            <a:off x="9540512" y="450057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00200" y="3520316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31" name="Rectangle 30"/>
          <p:cNvSpPr/>
          <p:nvPr/>
        </p:nvSpPr>
        <p:spPr>
          <a:xfrm>
            <a:off x="9610139" y="4030321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0200" y="453038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4" name="Chevron 33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8" name="Chevron 37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9" name="Rectangle 38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25" name="Chevron 24"/>
          <p:cNvSpPr/>
          <p:nvPr/>
        </p:nvSpPr>
        <p:spPr>
          <a:xfrm rot="10800000">
            <a:off x="9525032" y="2998384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9" name="Rectangle 28"/>
          <p:cNvSpPr/>
          <p:nvPr/>
        </p:nvSpPr>
        <p:spPr>
          <a:xfrm>
            <a:off x="9605567" y="3030188"/>
            <a:ext cx="23391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  <a:endParaRPr lang="fr-FR" dirty="0"/>
          </a:p>
        </p:txBody>
      </p:sp>
      <p:grpSp>
        <p:nvGrpSpPr>
          <p:cNvPr id="33" name="Groupe 37"/>
          <p:cNvGrpSpPr/>
          <p:nvPr/>
        </p:nvGrpSpPr>
        <p:grpSpPr>
          <a:xfrm>
            <a:off x="8310586" y="2214566"/>
            <a:ext cx="2937840" cy="714368"/>
            <a:chOff x="9516150" y="2714632"/>
            <a:chExt cx="2937840" cy="714382"/>
          </a:xfrm>
        </p:grpSpPr>
        <p:grpSp>
          <p:nvGrpSpPr>
            <p:cNvPr id="40" name="Groupe 23"/>
            <p:cNvGrpSpPr/>
            <p:nvPr/>
          </p:nvGrpSpPr>
          <p:grpSpPr>
            <a:xfrm>
              <a:off x="9546052" y="2714632"/>
              <a:ext cx="2907938" cy="714382"/>
              <a:chOff x="9546052" y="2714621"/>
              <a:chExt cx="2765062" cy="430616"/>
            </a:xfrm>
          </p:grpSpPr>
          <p:sp>
            <p:nvSpPr>
              <p:cNvPr id="45" name="Chevron 44"/>
              <p:cNvSpPr/>
              <p:nvPr/>
            </p:nvSpPr>
            <p:spPr>
              <a:xfrm rot="10800000">
                <a:off x="9546052" y="2714621"/>
                <a:ext cx="2765062" cy="430616"/>
              </a:xfrm>
              <a:prstGeom prst="chevron">
                <a:avLst/>
              </a:prstGeom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46" name="Rectangle 45"/>
              <p:cNvSpPr/>
              <p:nvPr/>
            </p:nvSpPr>
            <p:spPr>
              <a:xfrm>
                <a:off x="9742270" y="2732240"/>
                <a:ext cx="1358405" cy="35417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fr-FR" dirty="0" smtClean="0"/>
                  <a:t>Planification</a:t>
                </a:r>
              </a:p>
              <a:p>
                <a:r>
                  <a:rPr lang="fr-FR" dirty="0" smtClean="0"/>
                  <a:t> du projet</a:t>
                </a:r>
              </a:p>
            </p:txBody>
          </p:sp>
        </p:grpSp>
        <p:sp>
          <p:nvSpPr>
            <p:cNvPr id="41" name="Rectangle 40"/>
            <p:cNvSpPr/>
            <p:nvPr/>
          </p:nvSpPr>
          <p:spPr>
            <a:xfrm>
              <a:off x="9516150" y="2916792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3-</a:t>
              </a:r>
              <a:endParaRPr lang="fr-FR" dirty="0"/>
            </a:p>
          </p:txBody>
        </p:sp>
      </p:grpSp>
      <p:sp>
        <p:nvSpPr>
          <p:cNvPr id="37" name="Ellipse 36"/>
          <p:cNvSpPr/>
          <p:nvPr/>
        </p:nvSpPr>
        <p:spPr>
          <a:xfrm>
            <a:off x="5595942" y="4214818"/>
            <a:ext cx="857256" cy="35719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3" grpId="0" animBg="1"/>
      <p:bldP spid="24" grpId="0" animBg="1"/>
      <p:bldP spid="3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llecte de l’information</a:t>
            </a:r>
            <a:endParaRPr lang="fr-FR" dirty="0"/>
          </a:p>
        </p:txBody>
      </p:sp>
      <p:sp>
        <p:nvSpPr>
          <p:cNvPr id="77832" name="AutoShape 8" descr="data:image/jpeg;base64,/9j/4AAQSkZJRgABAQAAAQABAAD/2wCEAAkGBg8PEBIQDxAQERAQEBAQDhAPEhAQDxARFRAVFRQQEhUXGyYeFxkvGhISHy8gIycpLC8sFh8xQTAqOCktLCkBCQoKDgwOGQ8PGiwfHyQsNS8xLy0sKTQsNSwvKSwsLC0sLCksKSwsLyosLCwsNCwsLCksLyosLC0sLCwsLDUsMP/AABEIAOEA4QMBIgACEQEDEQH/xAAcAAEAAQUBAQAAAAAAAAAAAAAAAwIEBQYHAQj/xABAEAACAgADBgAIDAYCAwEAAAAAAQIDBBESBQYhMUFRExQiMmFxscEHI0JSU3KBkZKhstIWM2KC0fEXoiTh8BX/xAAZAQEAAwEBAAAAAAAAAAAAAAAAAwQFAgH/xAAlEQEAAgICAgICAgMAAAAAAAAAAQIDEQQxEiETQSJRMmEUFaH/2gAMAwEAAhEDEQA/AO4gAAAAAAAAAAAAAAAAAAAAAAAAAAAAAAAAAAAAAAAAAAAAAAAAAAAAAAAAAAAAAAAAAAAAAAAAAAAAAAAAAAAABRZaorN/7KpzSTb5IxVtzk839i7IC4njJPlwX5ketvm395EmNQEur1jURahqAm1DUQ6hqAm1DUQ6hqAm1DUQ6hqAm1DUQ6hqAm1Hmr1kWoagJdT7srhipLrn6y31BsDJ03qXLn1RIYiNjTzXNGTotUo5/f6GBIAAAAAAAAAAAAAstp3ZJR7vP7F/tFimSbbl5UPU/ai3qYEwB6B4AAAGZzze/fuyVksJs+S1RbjfiVk1W+sK+jl3fT18uq0m86hze8Ujct8vx1Vf8yyEM+WuUY5/eSV3Rks4yUl0aaaOJw2FW25W6rbHxlOxucm/S3xLzBUSw8teGsnTL+h+Q/RKD4SXrRd/wb67UP8AYU3rTsYNa3Y3s8Y+JvShelwy8y1Lm4Z8n3j7TZSlak0nVl+l4vG6gAOXQCxxe3MLS8rcRTW+07IRf3Nk+Dx9Vy1U2QsiuDdcozSfbNMCcHp4BS2XOzbvKce6z+1f7/ItLTzZsvjo+qXsYGeAAAAAAAAAAAAAYbbnnw+q/aiGhE+2/Ph9V+0ioQE2QyK8hkBRkazvlvjDAxVdaVuLtWVNS45dPCTy5Rz+1vh3a2exPJ5PJ5PJ88n3OK2x8Ffc/DLFYyVko24lebWk8sodpZcOHCPJdybDj+S2kObJ8ddq/GsXXC6vxmyWJxTTxUlLyaly0w6RllwzXJLL1eYLAwpioxXrfcqopUFw59X3LiqtyeSyWSzk3wjFLnKT6I2seKuONsLJltlnSXB4Od01CuOqT6dvS+yNuwW4kEk7pycuqh5MV7y/3RweGjQrKJxsc/PsXNtc45dMuxnsjOz8u0zqnqGnx+HStd39z/xrNu4uHeThO2EotSjJSTcZLk1mjYKYSUUpPVJJJySyzffLoTZDIp2va/8AKdrtMdafxjSjI5lvjvhfiLp4PBTddVbcMRfDhOUlzrrfRLk2uOf59A3gxjowmItj51dNs4+uMG1+aOP7Iw6hVHPm1nJ9W3zZZ4mGMltz1Cty80466juV3sLc2F89EIanzssnxy9LfVnVNjbEpwlSqpgornJpLOUuspd2Qbr+LPDxeGecflt+fr6qfpMxkccjL5zqI1EOuPh8I8pncyoyGRiN6d6aNnU+Et8qcs1VVHLXbLsuy7vp+RlsPapwjNcpRUl6msyvr7Wd/SO5EezP50fVL9LJrkR7N/nR9Uv0s8es8AAAAAAAAAAAAAxG2vPh9V+0ow6JNs+fD6r9pRh0BPkatvtvrDZ8FCtKzF2L4mrounhLMuUfby7tbTOLaeTyeTyfPJ98jim0thX4bE2SxknbfZJy8M+Vkejh2XJaenInwYvlvqZQcjL8VNxC92hvntK7CxwzcY2TzV+Jh5MnX2jFebLmm19mWfDGYLCRpioxXLn6SvUTYPDyusjXDLVN5LN5L7WbNMNMW5hi5Mt8uolVTW5vJZLJNyb4RjFc5SfREGJxXhfiqs1Sn5cnwlbJdX2XZe86TXuLR4rLDyzc7EnO1cJalxTXoT6HPto7LswljpsWTXmtebOPSUf/ALgRY81c1tfpLkwWw13+0+xNsWYKzXVxg8vC1Z5Rmu67S9J1LZO1asVWrapZxfNcpRfWMl0Zx3UXeyNs24O3wtTzTy8LW3lGyPul2ZzyeLF/yr2743KnH+NunY8hkWWxdtU4ypW1PNcpRfCUJdYyXRmO3w3wp2bVql5d081RSn5Vku77RXV+8x9TvTY3GtrX4Qd4MPhcJZXbnKzEVzqqqjlrm5RycvRFZ8Wc5wrahFPnpWZa524i2WKxUtd0/wANcekILokXWo2uJhnHXc/bF5eaMs6j6ZDZO2LcJb4Wrinkra28o2R90uzN32pv/hKMIsSpa5TzjVSslbKzrW18nLq+np4Z841kawUbJpqGqfydK1P7kM/Frkny6eYOTbHHj2R8Pjb/ABjFPXdY1GqC8yqLfkwgui4/bzO24SnRXCPzYxj9yyNS3Q3RlXJX4hZSX8ut84/1S9PoN0yM/k2p6pTqGjxqX93v3K3uRFs5fHR/u/Sye5EOz/50f7v0sqLbOAAAAAAAAAAAAAMTtjz4/VftKcOVbY8+P1X7SnDgXJjtubDqxlTrsXHnCa86EvnIyIPYmYncPJiJjUuK7X2VbhLXVauPOEl5s4/Oj/joZTdTdeeMnrlnGiD4yWalJp+bB9PX0Oj7Y2JRi4aLo5pNOLTylF90+nYusNhoVQUK4qMYrKMVwSRftzbTj19qNeFWL7+kkVksuxjN4NgV4yrRPhJca7F50Jd/V3XUygKETNZ3C9MRMalxHaWAtw1kqrY5Tj+GUekovqi21nX95d3K8bVpl5Nkc3VYlxi/eu6ORY/BWYeyVVsdM4viujXSUX1Rt8fkRljU9sXkcecc7jpcbK2xdhLPC0PjynB56LI9pens+hjrJW33TxOKn4S6b4fNhHpCC6RR7qGom+Knl569ovkt4+G/SbWZHYexbcZZorWSWTsm/Ngve+yItg7Etxlqrr4JZOyb5Qj39L7I67sjZFWFqVVSyS5t+dJ9ZSfVkHJ5MY48a9p+Pxvknc9I9n7v4empVKuMkubmlJyfWTz6l3Rgqq/MrhH6sUvYTgxZtM9tiKxHQADx6huIdn/zo/3fpZNcQ7P/AJ0f7v0sDNgAAAAAAAAAAAAMRtl+XD6r9pTh2e7bflw+q/aRUSAvMxmR6hqAkzGZHqGoCTMZmHx+9eBw7034qiuXzZ2QUvw55mH2/wDCXgcPQ7abq8TZLyaqqZxk5Ty+Vl5se7Z7ETLzcQyG+O+VOzadU/LunmqKU/Ksl7orhm/fkjjtmPxGIsniMTNyss6coQj0hBdEi2vxN2JulicVLXdP8MI9IQXSKJNZr8bj+H5W7ZfIz+f4x0m1DUXew9h3Y2bhSuSznOXmR7Zvv6CzxeHnTOVdkXGcHlKL5p+9ekuedd+O/ar4TrevS72bte7C2K2iemceafGE11hNdUde3Y3ppx9eqHk2RyVtTflQfvj2f+jiOsnwG0bcPZG6mWiyPJ81JdYSXWL7FbkceMsbjtYwZ5xzqen0BmMzXt1d7qsfXw8i6CXham+MX86PePZmd1GLas1nUtaJiY3CTMZkeoajx68uZDs9/HR/u/Syq6RFs1/HR9Uv0sDPgAAAAAAAAAAAAMLt5+XD6r9qLeiRLvE/Lr+rL2otaJAXuoaiLUNQEus5R8IG/l1t08Fg5uuutuOJvg8pyl1qg+iXJtcc+HTj0fa+MdWHusXOuqya9cYN+44julu/djZKEOvl3Wvio5vNt92+PAs8fHW0za3UIM15iNV7lY07PhFZ6c+PGTWfF8eL78GVqmCeelZna6d1sLHDPC6E62vKb86Uvnt/O9Jyzebdu3A2aZZyqk34K3LhL+mXaXt5+rQw8jHefGI1+lLLhvWNzO2M1GT3f2DbjbVXXwisnZY15MI+99kYZyO37r4OmnC1KmOmM4Rm3zlJyim3J9Wd8nNOKvruXODDGS3te7H2TVhKlVVHJLm/lSl1lJ9WYnfHdOGNhrhlHEQXkS6SX0c/R6en355/UNRjRe0W8on21JpEx4/TgeIqnXOULIuM4NxnGXBp9ijUdW3z3QjjIeEqyjiILyXyVi+ZP3PocmthKEnCacZRbjKMlk4tc0zbwZ4yx/bKy4Zxz/S4weOsosjbTNwsg84yX5xa6p9Ude3R3yrx8MnlDEQS8LVn/wB4d4+zl6+LaiTDYudU42VTcLIPOEo80/eu6OeRx4yxuO3uHNOOf6fQ2oajVNz99YY6OieUMTBeXDpNfSV916On5vZtRi2rNZ1LVraLRuC6RRsp/Hx9Uv0soukNjv4+Pql+k5etlAAAAAAAAAAAAAa/vNLKdf1Ze1FlRMuN7p5SqfdT9sf8mNw1wGS1jWQKZ7rA9xVMbYTrl5s4yhL1SWT9pabE2NTgqY00rKMVxb4ym8uMpPqy61jWe7+jSbWa3v3tnCYfCyWKSs8J5NVK8+yfTT2y4PV0/Jzb0b0VbPodtmcpPyaq151k8vNXZd30ON4jE4naF7vu1WWy4QrgnKNcekIJcl/smwYpyT+oRZckVhTh9U9KSeqTSjHm828kjvezaPBU11/MrhD7ope40bcrcmVUlicUsprjVVwel/Pl6ey6ezfNRNy8sXmK196R8fHNYmZ+02sayHWNZSWU2s1LfXc9YuLupSWIivUrYr5MvT2f2erZ9Y1ndLzSfKrm1YtGpcDmnFuMk1KLalFrJprmmujKdR03fbc5YlO/DpK+K8qK4K5Lp9bs/s7Za1ufuZLEy8LfGUKIvLTJOMrJJ8Y91HNcfuNinKpNPKWdbBaLeMJ9xd1bL7IYqblXVXJSrcW4yskuifzej78u51XUW1UYwioxSUYpJJcEkuSRXrMrNlnLbylfx44pGoLplWxJf+RH1T9haYi0r3cszxK+rP2EKRuIAAAAAAAAAAAADX99MK5UKxc6pZv6suD/AD0mqYPFnSLoRlFxkk4yTjJPk01k0cx21syeDt08XXJt1T7rs/6l/wCwM3VdmS6zX8NtEvYY9dwMnqGox/jyHjq7gX04qSykk12fFFNdUI+bGMfUkiz8dXceOruBkNQ1GP8AHV3Hjq7gZDUNRj/HV3Hjq7gZDUNRj/HV3Hjq7gZDUNRj/HV3HjqAyGsonbkWEscu5aYjaPpAnxuLMxuPh3KVlz5JeDj6W8nL2R+81XC02Ym1V18W+bfKK6yl6Dp2zMFCiqNUOUVz6yfWT+0C7AzAAAAAAAAAAomys8aAsMTZLoa7tmMrIuEo6ovo+/ddmbfKpMhngYvoByLE4W2p8IuUfRkpL3P8i3//AE9PnKcfXCfuR1yzYlcuaRaW7qUy+SgOWPb1a5zf4LP2lD3kp+k/62ftOmWbi4d/JRaz+DrDvoBzt70UfSr8Nn7Tz+KsP9Mvw2ftN+n8GWHfQil8FuH7AaN/FeG+mX4bP2nn8V4b6Zfhs/abu/gqw/Y8/wCKMOBpP8WYb6Zfhs/ae/xXhvpl+Gz9puv/ABRh+xUvgpw/YDSP4qw/0y/DZ+09W9GH+lX4bP2m8r4LMP2JIfBjh10A0Rby0fS/9bP2lS2/U+U3+Gz9p0CHwcYZdC5r3Ew8fkoDnK2qpctb9ULP8E1NN1r4QcV3nz+yK97R0urdOiPyUXlew6o8kgNV2FhJUrKKyz86T86XrZs+FlLqXcMDBckTRqSApgyU8SPQAAAAAAAAAAAAAAAAAAAAAAAAAAAAAAAAAAAAAAAAAAAAAAAAAAAAAAAAAAAAAAAAAAAAAAAAAAAAAAAAAAAAAAAAAAAAAAAAAAAAAAAAAAAAAAAAAAAAAAAAAAAAAD//2Q=="/>
          <p:cNvSpPr>
            <a:spLocks noChangeAspect="1" noChangeArrowheads="1"/>
          </p:cNvSpPr>
          <p:nvPr/>
        </p:nvSpPr>
        <p:spPr bwMode="auto">
          <a:xfrm>
            <a:off x="155576" y="-144463"/>
            <a:ext cx="30479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77834" name="AutoShape 10" descr="data:image/jpeg;base64,/9j/4AAQSkZJRgABAQAAAQABAAD/2wCEAAkGBg8PEBIQDxAQERAQEBAQDhAPEhAQDxARFRAVFRQQEhUXGyYeFxkvGhISHy8gIycpLC8sFh8xQTAqOCktLCkBCQoKDgwOGQ8PGiwfHyQsNS8xLy0sKTQsNSwvKSwsLC0sLCksKSwsLyosLCwsNCwsLCksLyosLC0sLCwsLDUsMP/AABEIAOEA4QMBIgACEQEDEQH/xAAcAAEAAQUBAQAAAAAAAAAAAAAAAwIEBQYHAQj/xABAEAACAgADBgAIDAYCAwEAAAAAAQIDBBESBQYhMUFRExQiMmFxscEHI0JSU3KBkZKhstIWM2KC0fEXoiTh8BX/xAAZAQEAAwEBAAAAAAAAAAAAAAAAAwQFAgH/xAAlEQEAAgICAgICAgMAAAAAAAAAAQIDEQQxEiETQSJRMmEUFaH/2gAMAwEAAhEDEQA/AO4gAAAAAAAAAAAAAAAAAAAAAAAAAAAAAAAAAAAAAAAAAAAAAAAAAAAAAAAAAAAAAAAAAAAAAAAAAAAAAAAAAAAABRZaorN/7KpzSTb5IxVtzk839i7IC4njJPlwX5ketvm395EmNQEur1jURahqAm1DUQ6hqAm1DUQ6hqAm1DUQ6hqAm1DUQ6hqAm1Hmr1kWoagJdT7srhipLrn6y31BsDJ03qXLn1RIYiNjTzXNGTotUo5/f6GBIAAAAAAAAAAAAAstp3ZJR7vP7F/tFimSbbl5UPU/ai3qYEwB6B4AAAGZzze/fuyVksJs+S1RbjfiVk1W+sK+jl3fT18uq0m86hze8Ujct8vx1Vf8yyEM+WuUY5/eSV3Rks4yUl0aaaOJw2FW25W6rbHxlOxucm/S3xLzBUSw8teGsnTL+h+Q/RKD4SXrRd/wb67UP8AYU3rTsYNa3Y3s8Y+JvShelwy8y1Lm4Z8n3j7TZSlak0nVl+l4vG6gAOXQCxxe3MLS8rcRTW+07IRf3Nk+Dx9Vy1U2QsiuDdcozSfbNMCcHp4BS2XOzbvKce6z+1f7/ItLTzZsvjo+qXsYGeAAAAAAAAAAAAAYbbnnw+q/aiGhE+2/Ph9V+0ioQE2QyK8hkBRkazvlvjDAxVdaVuLtWVNS45dPCTy5Rz+1vh3a2exPJ5PJ5PJ88n3OK2x8Ffc/DLFYyVko24lebWk8sodpZcOHCPJdybDj+S2kObJ8ddq/GsXXC6vxmyWJxTTxUlLyaly0w6RllwzXJLL1eYLAwpioxXrfcqopUFw59X3LiqtyeSyWSzk3wjFLnKT6I2seKuONsLJltlnSXB4Od01CuOqT6dvS+yNuwW4kEk7pycuqh5MV7y/3RweGjQrKJxsc/PsXNtc45dMuxnsjOz8u0zqnqGnx+HStd39z/xrNu4uHeThO2EotSjJSTcZLk1mjYKYSUUpPVJJJySyzffLoTZDIp2va/8AKdrtMdafxjSjI5lvjvhfiLp4PBTddVbcMRfDhOUlzrrfRLk2uOf59A3gxjowmItj51dNs4+uMG1+aOP7Iw6hVHPm1nJ9W3zZZ4mGMltz1Cty80466juV3sLc2F89EIanzssnxy9LfVnVNjbEpwlSqpgornJpLOUuspd2Qbr+LPDxeGecflt+fr6qfpMxkccjL5zqI1EOuPh8I8pncyoyGRiN6d6aNnU+Et8qcs1VVHLXbLsuy7vp+RlsPapwjNcpRUl6msyvr7Wd/SO5EezP50fVL9LJrkR7N/nR9Uv0s8es8AAAAAAAAAAAAAxG2vPh9V+0ow6JNs+fD6r9pRh0BPkatvtvrDZ8FCtKzF2L4mrounhLMuUfby7tbTOLaeTyeTyfPJ98jim0thX4bE2SxknbfZJy8M+Vkejh2XJaenInwYvlvqZQcjL8VNxC92hvntK7CxwzcY2TzV+Jh5MnX2jFebLmm19mWfDGYLCRpioxXLn6SvUTYPDyusjXDLVN5LN5L7WbNMNMW5hi5Mt8uolVTW5vJZLJNyb4RjFc5SfREGJxXhfiqs1Sn5cnwlbJdX2XZe86TXuLR4rLDyzc7EnO1cJalxTXoT6HPto7LswljpsWTXmtebOPSUf/ALgRY81c1tfpLkwWw13+0+xNsWYKzXVxg8vC1Z5Rmu67S9J1LZO1asVWrapZxfNcpRfWMl0Zx3UXeyNs24O3wtTzTy8LW3lGyPul2ZzyeLF/yr2743KnH+NunY8hkWWxdtU4ypW1PNcpRfCUJdYyXRmO3w3wp2bVql5d081RSn5Vku77RXV+8x9TvTY3GtrX4Qd4MPhcJZXbnKzEVzqqqjlrm5RycvRFZ8Wc5wrahFPnpWZa524i2WKxUtd0/wANcekILokXWo2uJhnHXc/bF5eaMs6j6ZDZO2LcJb4Wrinkra28o2R90uzN32pv/hKMIsSpa5TzjVSslbKzrW18nLq+np4Z841kawUbJpqGqfydK1P7kM/Frkny6eYOTbHHj2R8Pjb/ABjFPXdY1GqC8yqLfkwgui4/bzO24SnRXCPzYxj9yyNS3Q3RlXJX4hZSX8ut84/1S9PoN0yM/k2p6pTqGjxqX93v3K3uRFs5fHR/u/Sye5EOz/50f7v0sqLbOAAAAAAAAAAAAAMTtjz4/VftKcOVbY8+P1X7SnDgXJjtubDqxlTrsXHnCa86EvnIyIPYmYncPJiJjUuK7X2VbhLXVauPOEl5s4/Oj/joZTdTdeeMnrlnGiD4yWalJp+bB9PX0Oj7Y2JRi4aLo5pNOLTylF90+nYusNhoVQUK4qMYrKMVwSRftzbTj19qNeFWL7+kkVksuxjN4NgV4yrRPhJca7F50Jd/V3XUygKETNZ3C9MRMalxHaWAtw1kqrY5Tj+GUekovqi21nX95d3K8bVpl5Nkc3VYlxi/eu6ORY/BWYeyVVsdM4viujXSUX1Rt8fkRljU9sXkcecc7jpcbK2xdhLPC0PjynB56LI9pens+hjrJW33TxOKn4S6b4fNhHpCC6RR7qGom+Knl569ovkt4+G/SbWZHYexbcZZorWSWTsm/Ngve+yItg7Etxlqrr4JZOyb5Qj39L7I67sjZFWFqVVSyS5t+dJ9ZSfVkHJ5MY48a9p+Pxvknc9I9n7v4empVKuMkubmlJyfWTz6l3Rgqq/MrhH6sUvYTgxZtM9tiKxHQADx6huIdn/zo/3fpZNcQ7P/AJ0f7v0sDNgAAAAAAAAAAAAMRtl+XD6r9pTh2e7bflw+q/aRUSAvMxmR6hqAkzGZHqGoCTMZmHx+9eBw7034qiuXzZ2QUvw55mH2/wDCXgcPQ7abq8TZLyaqqZxk5Ty+Vl5se7Z7ETLzcQyG+O+VOzadU/LunmqKU/Ksl7orhm/fkjjtmPxGIsniMTNyss6coQj0hBdEi2vxN2JulicVLXdP8MI9IQXSKJNZr8bj+H5W7ZfIz+f4x0m1DUXew9h3Y2bhSuSznOXmR7Zvv6CzxeHnTOVdkXGcHlKL5p+9ekuedd+O/ar4TrevS72bte7C2K2iemceafGE11hNdUde3Y3ppx9eqHk2RyVtTflQfvj2f+jiOsnwG0bcPZG6mWiyPJ81JdYSXWL7FbkceMsbjtYwZ5xzqen0BmMzXt1d7qsfXw8i6CXham+MX86PePZmd1GLas1nUtaJiY3CTMZkeoajx68uZDs9/HR/u/Syq6RFs1/HR9Uv0sDPgAAAAAAAAAAAAMLt5+XD6r9qLeiRLvE/Lr+rL2otaJAXuoaiLUNQEus5R8IG/l1t08Fg5uuutuOJvg8pyl1qg+iXJtcc+HTj0fa+MdWHusXOuqya9cYN+44julu/djZKEOvl3Wvio5vNt92+PAs8fHW0za3UIM15iNV7lY07PhFZ6c+PGTWfF8eL78GVqmCeelZna6d1sLHDPC6E62vKb86Uvnt/O9Jyzebdu3A2aZZyqk34K3LhL+mXaXt5+rQw8jHefGI1+lLLhvWNzO2M1GT3f2DbjbVXXwisnZY15MI+99kYZyO37r4OmnC1KmOmM4Rm3zlJyim3J9Wd8nNOKvruXODDGS3te7H2TVhKlVVHJLm/lSl1lJ9WYnfHdOGNhrhlHEQXkS6SX0c/R6en355/UNRjRe0W8on21JpEx4/TgeIqnXOULIuM4NxnGXBp9ijUdW3z3QjjIeEqyjiILyXyVi+ZP3PocmthKEnCacZRbjKMlk4tc0zbwZ4yx/bKy4Zxz/S4weOsosjbTNwsg84yX5xa6p9Ude3R3yrx8MnlDEQS8LVn/wB4d4+zl6+LaiTDYudU42VTcLIPOEo80/eu6OeRx4yxuO3uHNOOf6fQ2oajVNz99YY6OieUMTBeXDpNfSV916On5vZtRi2rNZ1LVraLRuC6RRsp/Hx9Uv0soukNjv4+Pql+k5etlAAAAAAAAAAAAAa/vNLKdf1Ze1FlRMuN7p5SqfdT9sf8mNw1wGS1jWQKZ7rA9xVMbYTrl5s4yhL1SWT9pabE2NTgqY00rKMVxb4ym8uMpPqy61jWe7+jSbWa3v3tnCYfCyWKSs8J5NVK8+yfTT2y4PV0/Jzb0b0VbPodtmcpPyaq151k8vNXZd30ON4jE4naF7vu1WWy4QrgnKNcekIJcl/smwYpyT+oRZckVhTh9U9KSeqTSjHm828kjvezaPBU11/MrhD7ope40bcrcmVUlicUsprjVVwel/Pl6ey6ezfNRNy8sXmK196R8fHNYmZ+02sayHWNZSWU2s1LfXc9YuLupSWIivUrYr5MvT2f2erZ9Y1ndLzSfKrm1YtGpcDmnFuMk1KLalFrJprmmujKdR03fbc5YlO/DpK+K8qK4K5Lp9bs/s7Za1ufuZLEy8LfGUKIvLTJOMrJJ8Y91HNcfuNinKpNPKWdbBaLeMJ9xd1bL7IYqblXVXJSrcW4yskuifzej78u51XUW1UYwioxSUYpJJcEkuSRXrMrNlnLbylfx44pGoLplWxJf+RH1T9haYi0r3cszxK+rP2EKRuIAAAAAAAAAAAADX99MK5UKxc6pZv6suD/AD0mqYPFnSLoRlFxkk4yTjJPk01k0cx21syeDt08XXJt1T7rs/6l/wCwM3VdmS6zX8NtEvYY9dwMnqGox/jyHjq7gX04qSykk12fFFNdUI+bGMfUkiz8dXceOruBkNQ1GP8AHV3Hjq7gZDUNRj/HV3Hjq7gZDUNRj/HV3Hjq7gZDUNRj/HV3HjqAyGsonbkWEscu5aYjaPpAnxuLMxuPh3KVlz5JeDj6W8nL2R+81XC02Ym1V18W+bfKK6yl6Dp2zMFCiqNUOUVz6yfWT+0C7AzAAAAAAAAAAomys8aAsMTZLoa7tmMrIuEo6ovo+/ddmbfKpMhngYvoByLE4W2p8IuUfRkpL3P8i3//AE9PnKcfXCfuR1yzYlcuaRaW7qUy+SgOWPb1a5zf4LP2lD3kp+k/62ftOmWbi4d/JRaz+DrDvoBzt70UfSr8Nn7Tz+KsP9Mvw2ftN+n8GWHfQil8FuH7AaN/FeG+mX4bP2nn8V4b6Zfhs/abu/gqw/Y8/wCKMOBpP8WYb6Zfhs/ae/xXhvpl+Gz9puv/ABRh+xUvgpw/YDSP4qw/0y/DZ+09W9GH+lX4bP2m8r4LMP2JIfBjh10A0Rby0fS/9bP2lS2/U+U3+Gz9p0CHwcYZdC5r3Ew8fkoDnK2qpctb9ULP8E1NN1r4QcV3nz+yK97R0urdOiPyUXlew6o8kgNV2FhJUrKKyz86T86XrZs+FlLqXcMDBckTRqSApgyU8SPQAAAAAAAAAAAAAAAAAAAAAAAAAAAAAAAAAAAAAAAAAAAAAAAAAAAAAAAAAAAAAAAAAAAAAAAAAAAAAAAAAAAAAAAAAAAAAAAAAAAAAAAAAAAAAAAAAAAAAAAAAAAAAD//2Q=="/>
          <p:cNvSpPr>
            <a:spLocks noChangeAspect="1" noChangeArrowheads="1"/>
          </p:cNvSpPr>
          <p:nvPr/>
        </p:nvSpPr>
        <p:spPr bwMode="auto">
          <a:xfrm>
            <a:off x="155576" y="-144463"/>
            <a:ext cx="30479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77836" name="AutoShape 12" descr="data:image/jpeg;base64,/9j/4AAQSkZJRgABAQAAAQABAAD/2wCEAAkGBg8PEBIQDxAQERAQEBAQDhAPEhAQDxARFRAVFRQQEhUXGyYeFxkvGhISHy8gIycpLC8sFh8xQTAqOCktLCkBCQoKDgwOGQ8PGiwfHyQsNS8xLy0sKTQsNSwvKSwsLC0sLCksKSwsLyosLCwsNCwsLCksLyosLC0sLCwsLDUsMP/AABEIAOEA4QMBIgACEQEDEQH/xAAcAAEAAQUBAQAAAAAAAAAAAAAAAwIEBQYHAQj/xABAEAACAgADBgAIDAYCAwEAAAAAAQIDBBESBQYhMUFRExQiMmFxscEHI0JSU3KBkZKhstIWM2KC0fEXoiTh8BX/xAAZAQEAAwEBAAAAAAAAAAAAAAAAAwQFAgH/xAAlEQEAAgICAgICAgMAAAAAAAAAAQIDEQQxEiETQSJRMmEUFaH/2gAMAwEAAhEDEQA/AO4gAAAAAAAAAAAAAAAAAAAAAAAAAAAAAAAAAAAAAAAAAAAAAAAAAAAAAAAAAAAAAAAAAAAAAAAAAAAAAAAAAAAABRZaorN/7KpzSTb5IxVtzk839i7IC4njJPlwX5ketvm395EmNQEur1jURahqAm1DUQ6hqAm1DUQ6hqAm1DUQ6hqAm1DUQ6hqAm1Hmr1kWoagJdT7srhipLrn6y31BsDJ03qXLn1RIYiNjTzXNGTotUo5/f6GBIAAAAAAAAAAAAAstp3ZJR7vP7F/tFimSbbl5UPU/ai3qYEwB6B4AAAGZzze/fuyVksJs+S1RbjfiVk1W+sK+jl3fT18uq0m86hze8Ujct8vx1Vf8yyEM+WuUY5/eSV3Rks4yUl0aaaOJw2FW25W6rbHxlOxucm/S3xLzBUSw8teGsnTL+h+Q/RKD4SXrRd/wb67UP8AYU3rTsYNa3Y3s8Y+JvShelwy8y1Lm4Z8n3j7TZSlak0nVl+l4vG6gAOXQCxxe3MLS8rcRTW+07IRf3Nk+Dx9Vy1U2QsiuDdcozSfbNMCcHp4BS2XOzbvKce6z+1f7/ItLTzZsvjo+qXsYGeAAAAAAAAAAAAAYbbnnw+q/aiGhE+2/Ph9V+0ioQE2QyK8hkBRkazvlvjDAxVdaVuLtWVNS45dPCTy5Rz+1vh3a2exPJ5PJ5PJ88n3OK2x8Ffc/DLFYyVko24lebWk8sodpZcOHCPJdybDj+S2kObJ8ddq/GsXXC6vxmyWJxTTxUlLyaly0w6RllwzXJLL1eYLAwpioxXrfcqopUFw59X3LiqtyeSyWSzk3wjFLnKT6I2seKuONsLJltlnSXB4Od01CuOqT6dvS+yNuwW4kEk7pycuqh5MV7y/3RweGjQrKJxsc/PsXNtc45dMuxnsjOz8u0zqnqGnx+HStd39z/xrNu4uHeThO2EotSjJSTcZLk1mjYKYSUUpPVJJJySyzffLoTZDIp2va/8AKdrtMdafxjSjI5lvjvhfiLp4PBTddVbcMRfDhOUlzrrfRLk2uOf59A3gxjowmItj51dNs4+uMG1+aOP7Iw6hVHPm1nJ9W3zZZ4mGMltz1Cty80466juV3sLc2F89EIanzssnxy9LfVnVNjbEpwlSqpgornJpLOUuspd2Qbr+LPDxeGecflt+fr6qfpMxkccjL5zqI1EOuPh8I8pncyoyGRiN6d6aNnU+Et8qcs1VVHLXbLsuy7vp+RlsPapwjNcpRUl6msyvr7Wd/SO5EezP50fVL9LJrkR7N/nR9Uv0s8es8AAAAAAAAAAAAAxG2vPh9V+0ow6JNs+fD6r9pRh0BPkatvtvrDZ8FCtKzF2L4mrounhLMuUfby7tbTOLaeTyeTyfPJ98jim0thX4bE2SxknbfZJy8M+Vkejh2XJaenInwYvlvqZQcjL8VNxC92hvntK7CxwzcY2TzV+Jh5MnX2jFebLmm19mWfDGYLCRpioxXLn6SvUTYPDyusjXDLVN5LN5L7WbNMNMW5hi5Mt8uolVTW5vJZLJNyb4RjFc5SfREGJxXhfiqs1Sn5cnwlbJdX2XZe86TXuLR4rLDyzc7EnO1cJalxTXoT6HPto7LswljpsWTXmtebOPSUf/ALgRY81c1tfpLkwWw13+0+xNsWYKzXVxg8vC1Z5Rmu67S9J1LZO1asVWrapZxfNcpRfWMl0Zx3UXeyNs24O3wtTzTy8LW3lGyPul2ZzyeLF/yr2743KnH+NunY8hkWWxdtU4ypW1PNcpRfCUJdYyXRmO3w3wp2bVql5d081RSn5Vku77RXV+8x9TvTY3GtrX4Qd4MPhcJZXbnKzEVzqqqjlrm5RycvRFZ8Wc5wrahFPnpWZa524i2WKxUtd0/wANcekILokXWo2uJhnHXc/bF5eaMs6j6ZDZO2LcJb4Wrinkra28o2R90uzN32pv/hKMIsSpa5TzjVSslbKzrW18nLq+np4Z841kawUbJpqGqfydK1P7kM/Frkny6eYOTbHHj2R8Pjb/ABjFPXdY1GqC8yqLfkwgui4/bzO24SnRXCPzYxj9yyNS3Q3RlXJX4hZSX8ut84/1S9PoN0yM/k2p6pTqGjxqX93v3K3uRFs5fHR/u/Sye5EOz/50f7v0sqLbOAAAAAAAAAAAAAMTtjz4/VftKcOVbY8+P1X7SnDgXJjtubDqxlTrsXHnCa86EvnIyIPYmYncPJiJjUuK7X2VbhLXVauPOEl5s4/Oj/joZTdTdeeMnrlnGiD4yWalJp+bB9PX0Oj7Y2JRi4aLo5pNOLTylF90+nYusNhoVQUK4qMYrKMVwSRftzbTj19qNeFWL7+kkVksuxjN4NgV4yrRPhJca7F50Jd/V3XUygKETNZ3C9MRMalxHaWAtw1kqrY5Tj+GUekovqi21nX95d3K8bVpl5Nkc3VYlxi/eu6ORY/BWYeyVVsdM4viujXSUX1Rt8fkRljU9sXkcecc7jpcbK2xdhLPC0PjynB56LI9pens+hjrJW33TxOKn4S6b4fNhHpCC6RR7qGom+Knl569ovkt4+G/SbWZHYexbcZZorWSWTsm/Ngve+yItg7Etxlqrr4JZOyb5Qj39L7I67sjZFWFqVVSyS5t+dJ9ZSfVkHJ5MY48a9p+Pxvknc9I9n7v4empVKuMkubmlJyfWTz6l3Rgqq/MrhH6sUvYTgxZtM9tiKxHQADx6huIdn/zo/3fpZNcQ7P/AJ0f7v0sDNgAAAAAAAAAAAAMRtl+XD6r9pTh2e7bflw+q/aRUSAvMxmR6hqAkzGZHqGoCTMZmHx+9eBw7034qiuXzZ2QUvw55mH2/wDCXgcPQ7abq8TZLyaqqZxk5Ty+Vl5se7Z7ETLzcQyG+O+VOzadU/LunmqKU/Ksl7orhm/fkjjtmPxGIsniMTNyss6coQj0hBdEi2vxN2JulicVLXdP8MI9IQXSKJNZr8bj+H5W7ZfIz+f4x0m1DUXew9h3Y2bhSuSznOXmR7Zvv6CzxeHnTOVdkXGcHlKL5p+9ekuedd+O/ar4TrevS72bte7C2K2iemceafGE11hNdUde3Y3ppx9eqHk2RyVtTflQfvj2f+jiOsnwG0bcPZG6mWiyPJ81JdYSXWL7FbkceMsbjtYwZ5xzqen0BmMzXt1d7qsfXw8i6CXham+MX86PePZmd1GLas1nUtaJiY3CTMZkeoajx68uZDs9/HR/u/Syq6RFs1/HR9Uv0sDPgAAAAAAAAAAAAMLt5+XD6r9qLeiRLvE/Lr+rL2otaJAXuoaiLUNQEus5R8IG/l1t08Fg5uuutuOJvg8pyl1qg+iXJtcc+HTj0fa+MdWHusXOuqya9cYN+44julu/djZKEOvl3Wvio5vNt92+PAs8fHW0za3UIM15iNV7lY07PhFZ6c+PGTWfF8eL78GVqmCeelZna6d1sLHDPC6E62vKb86Uvnt/O9Jyzebdu3A2aZZyqk34K3LhL+mXaXt5+rQw8jHefGI1+lLLhvWNzO2M1GT3f2DbjbVXXwisnZY15MI+99kYZyO37r4OmnC1KmOmM4Rm3zlJyim3J9Wd8nNOKvruXODDGS3te7H2TVhKlVVHJLm/lSl1lJ9WYnfHdOGNhrhlHEQXkS6SX0c/R6en355/UNRjRe0W8on21JpEx4/TgeIqnXOULIuM4NxnGXBp9ijUdW3z3QjjIeEqyjiILyXyVi+ZP3PocmthKEnCacZRbjKMlk4tc0zbwZ4yx/bKy4Zxz/S4weOsosjbTNwsg84yX5xa6p9Ude3R3yrx8MnlDEQS8LVn/wB4d4+zl6+LaiTDYudU42VTcLIPOEo80/eu6OeRx4yxuO3uHNOOf6fQ2oajVNz99YY6OieUMTBeXDpNfSV916On5vZtRi2rNZ1LVraLRuC6RRsp/Hx9Uv0soukNjv4+Pql+k5etlAAAAAAAAAAAAAa/vNLKdf1Ze1FlRMuN7p5SqfdT9sf8mNw1wGS1jWQKZ7rA9xVMbYTrl5s4yhL1SWT9pabE2NTgqY00rKMVxb4ym8uMpPqy61jWe7+jSbWa3v3tnCYfCyWKSs8J5NVK8+yfTT2y4PV0/Jzb0b0VbPodtmcpPyaq151k8vNXZd30ON4jE4naF7vu1WWy4QrgnKNcekIJcl/smwYpyT+oRZckVhTh9U9KSeqTSjHm828kjvezaPBU11/MrhD7ope40bcrcmVUlicUsprjVVwel/Pl6ey6ezfNRNy8sXmK196R8fHNYmZ+02sayHWNZSWU2s1LfXc9YuLupSWIivUrYr5MvT2f2erZ9Y1ndLzSfKrm1YtGpcDmnFuMk1KLalFrJprmmujKdR03fbc5YlO/DpK+K8qK4K5Lp9bs/s7Za1ufuZLEy8LfGUKIvLTJOMrJJ8Y91HNcfuNinKpNPKWdbBaLeMJ9xd1bL7IYqblXVXJSrcW4yskuifzej78u51XUW1UYwioxSUYpJJcEkuSRXrMrNlnLbylfx44pGoLplWxJf+RH1T9haYi0r3cszxK+rP2EKRuIAAAAAAAAAAAADX99MK5UKxc6pZv6suD/AD0mqYPFnSLoRlFxkk4yTjJPk01k0cx21syeDt08XXJt1T7rs/6l/wCwM3VdmS6zX8NtEvYY9dwMnqGox/jyHjq7gX04qSykk12fFFNdUI+bGMfUkiz8dXceOruBkNQ1GP8AHV3Hjq7gZDUNRj/HV3Hjq7gZDUNRj/HV3Hjq7gZDUNRj/HV3HjqAyGsonbkWEscu5aYjaPpAnxuLMxuPh3KVlz5JeDj6W8nL2R+81XC02Ym1V18W+bfKK6yl6Dp2zMFCiqNUOUVz6yfWT+0C7AzAAAAAAAAAAomys8aAsMTZLoa7tmMrIuEo6ovo+/ddmbfKpMhngYvoByLE4W2p8IuUfRkpL3P8i3//AE9PnKcfXCfuR1yzYlcuaRaW7qUy+SgOWPb1a5zf4LP2lD3kp+k/62ftOmWbi4d/JRaz+DrDvoBzt70UfSr8Nn7Tz+KsP9Mvw2ftN+n8GWHfQil8FuH7AaN/FeG+mX4bP2nn8V4b6Zfhs/abu/gqw/Y8/wCKMOBpP8WYb6Zfhs/ae/xXhvpl+Gz9puv/ABRh+xUvgpw/YDSP4qw/0y/DZ+09W9GH+lX4bP2m8r4LMP2JIfBjh10A0Rby0fS/9bP2lS2/U+U3+Gz9p0CHwcYZdC5r3Ew8fkoDnK2qpctb9ULP8E1NN1r4QcV3nz+yK97R0urdOiPyUXlew6o8kgNV2FhJUrKKyz86T86XrZs+FlLqXcMDBckTRqSApgyU8SPQAAAAAAAAAAAAAAAAAAAAAAAAAAAAAAAAAAAAAAAAAAAAAAAAAAAAAAAAAAAAAAAAAAAAAAAAAAAAAAAAAAAAAAAAAAAAAAAAAAAAAAAAAAAAAAAAAAAAAAAAAAAAAD//2Q=="/>
          <p:cNvSpPr>
            <a:spLocks noChangeAspect="1" noChangeArrowheads="1"/>
          </p:cNvSpPr>
          <p:nvPr/>
        </p:nvSpPr>
        <p:spPr bwMode="auto">
          <a:xfrm>
            <a:off x="155576" y="-144463"/>
            <a:ext cx="30479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77838" name="AutoShape 14" descr="data:image/jpeg;base64,/9j/4AAQSkZJRgABAQAAAQABAAD/2wCEAAkGBg8PEBIQDxAQERAQEBAQDhAPEhAQDxARFRAVFRQQEhUXGyYeFxkvGhISHy8gIycpLC8sFh8xQTAqOCktLCkBCQoKDgwOGQ8PGiwfHyQsNS8xLy0sKTQsNSwvKSwsLC0sLCksKSwsLyosLCwsNCwsLCksLyosLC0sLCwsLDUsMP/AABEIAOEA4QMBIgACEQEDEQH/xAAcAAEAAQUBAQAAAAAAAAAAAAAAAwIEBQYHAQj/xABAEAACAgADBgAIDAYCAwEAAAAAAQIDBBESBQYhMUFRExQiMmFxscEHI0JSU3KBkZKhstIWM2KC0fEXoiTh8BX/xAAZAQEAAwEBAAAAAAAAAAAAAAAAAwQFAgH/xAAlEQEAAgICAgICAgMAAAAAAAAAAQIDEQQxEiETQSJRMmEUFaH/2gAMAwEAAhEDEQA/AO4gAAAAAAAAAAAAAAAAAAAAAAAAAAAAAAAAAAAAAAAAAAAAAAAAAAAAAAAAAAAAAAAAAAAAAAAAAAAAAAAAAAAABRZaorN/7KpzSTb5IxVtzk839i7IC4njJPlwX5ketvm395EmNQEur1jURahqAm1DUQ6hqAm1DUQ6hqAm1DUQ6hqAm1DUQ6hqAm1Hmr1kWoagJdT7srhipLrn6y31BsDJ03qXLn1RIYiNjTzXNGTotUo5/f6GBIAAAAAAAAAAAAAstp3ZJR7vP7F/tFimSbbl5UPU/ai3qYEwB6B4AAAGZzze/fuyVksJs+S1RbjfiVk1W+sK+jl3fT18uq0m86hze8Ujct8vx1Vf8yyEM+WuUY5/eSV3Rks4yUl0aaaOJw2FW25W6rbHxlOxucm/S3xLzBUSw8teGsnTL+h+Q/RKD4SXrRd/wb67UP8AYU3rTsYNa3Y3s8Y+JvShelwy8y1Lm4Z8n3j7TZSlak0nVl+l4vG6gAOXQCxxe3MLS8rcRTW+07IRf3Nk+Dx9Vy1U2QsiuDdcozSfbNMCcHp4BS2XOzbvKce6z+1f7/ItLTzZsvjo+qXsYGeAAAAAAAAAAAAAYbbnnw+q/aiGhE+2/Ph9V+0ioQE2QyK8hkBRkazvlvjDAxVdaVuLtWVNS45dPCTy5Rz+1vh3a2exPJ5PJ5PJ88n3OK2x8Ffc/DLFYyVko24lebWk8sodpZcOHCPJdybDj+S2kObJ8ddq/GsXXC6vxmyWJxTTxUlLyaly0w6RllwzXJLL1eYLAwpioxXrfcqopUFw59X3LiqtyeSyWSzk3wjFLnKT6I2seKuONsLJltlnSXB4Od01CuOqT6dvS+yNuwW4kEk7pycuqh5MV7y/3RweGjQrKJxsc/PsXNtc45dMuxnsjOz8u0zqnqGnx+HStd39z/xrNu4uHeThO2EotSjJSTcZLk1mjYKYSUUpPVJJJySyzffLoTZDIp2va/8AKdrtMdafxjSjI5lvjvhfiLp4PBTddVbcMRfDhOUlzrrfRLk2uOf59A3gxjowmItj51dNs4+uMG1+aOP7Iw6hVHPm1nJ9W3zZZ4mGMltz1Cty80466juV3sLc2F89EIanzssnxy9LfVnVNjbEpwlSqpgornJpLOUuspd2Qbr+LPDxeGecflt+fr6qfpMxkccjL5zqI1EOuPh8I8pncyoyGRiN6d6aNnU+Et8qcs1VVHLXbLsuy7vp+RlsPapwjNcpRUl6msyvr7Wd/SO5EezP50fVL9LJrkR7N/nR9Uv0s8es8AAAAAAAAAAAAAxG2vPh9V+0ow6JNs+fD6r9pRh0BPkatvtvrDZ8FCtKzF2L4mrounhLMuUfby7tbTOLaeTyeTyfPJ98jim0thX4bE2SxknbfZJy8M+Vkejh2XJaenInwYvlvqZQcjL8VNxC92hvntK7CxwzcY2TzV+Jh5MnX2jFebLmm19mWfDGYLCRpioxXLn6SvUTYPDyusjXDLVN5LN5L7WbNMNMW5hi5Mt8uolVTW5vJZLJNyb4RjFc5SfREGJxXhfiqs1Sn5cnwlbJdX2XZe86TXuLR4rLDyzc7EnO1cJalxTXoT6HPto7LswljpsWTXmtebOPSUf/ALgRY81c1tfpLkwWw13+0+xNsWYKzXVxg8vC1Z5Rmu67S9J1LZO1asVWrapZxfNcpRfWMl0Zx3UXeyNs24O3wtTzTy8LW3lGyPul2ZzyeLF/yr2743KnH+NunY8hkWWxdtU4ypW1PNcpRfCUJdYyXRmO3w3wp2bVql5d081RSn5Vku77RXV+8x9TvTY3GtrX4Qd4MPhcJZXbnKzEVzqqqjlrm5RycvRFZ8Wc5wrahFPnpWZa524i2WKxUtd0/wANcekILokXWo2uJhnHXc/bF5eaMs6j6ZDZO2LcJb4Wrinkra28o2R90uzN32pv/hKMIsSpa5TzjVSslbKzrW18nLq+np4Z841kawUbJpqGqfydK1P7kM/Frkny6eYOTbHHj2R8Pjb/ABjFPXdY1GqC8yqLfkwgui4/bzO24SnRXCPzYxj9yyNS3Q3RlXJX4hZSX8ut84/1S9PoN0yM/k2p6pTqGjxqX93v3K3uRFs5fHR/u/Sye5EOz/50f7v0sqLbOAAAAAAAAAAAAAMTtjz4/VftKcOVbY8+P1X7SnDgXJjtubDqxlTrsXHnCa86EvnIyIPYmYncPJiJjUuK7X2VbhLXVauPOEl5s4/Oj/joZTdTdeeMnrlnGiD4yWalJp+bB9PX0Oj7Y2JRi4aLo5pNOLTylF90+nYusNhoVQUK4qMYrKMVwSRftzbTj19qNeFWL7+kkVksuxjN4NgV4yrRPhJca7F50Jd/V3XUygKETNZ3C9MRMalxHaWAtw1kqrY5Tj+GUekovqi21nX95d3K8bVpl5Nkc3VYlxi/eu6ORY/BWYeyVVsdM4viujXSUX1Rt8fkRljU9sXkcecc7jpcbK2xdhLPC0PjynB56LI9pens+hjrJW33TxOKn4S6b4fNhHpCC6RR7qGom+Knl569ovkt4+G/SbWZHYexbcZZorWSWTsm/Ngve+yItg7Etxlqrr4JZOyb5Qj39L7I67sjZFWFqVVSyS5t+dJ9ZSfVkHJ5MY48a9p+Pxvknc9I9n7v4empVKuMkubmlJyfWTz6l3Rgqq/MrhH6sUvYTgxZtM9tiKxHQADx6huIdn/zo/3fpZNcQ7P/AJ0f7v0sDNgAAAAAAAAAAAAMRtl+XD6r9pTh2e7bflw+q/aRUSAvMxmR6hqAkzGZHqGoCTMZmHx+9eBw7034qiuXzZ2QUvw55mH2/wDCXgcPQ7abq8TZLyaqqZxk5Ty+Vl5se7Z7ETLzcQyG+O+VOzadU/LunmqKU/Ksl7orhm/fkjjtmPxGIsniMTNyss6coQj0hBdEi2vxN2JulicVLXdP8MI9IQXSKJNZr8bj+H5W7ZfIz+f4x0m1DUXew9h3Y2bhSuSznOXmR7Zvv6CzxeHnTOVdkXGcHlKL5p+9ekuedd+O/ar4TrevS72bte7C2K2iemceafGE11hNdUde3Y3ppx9eqHk2RyVtTflQfvj2f+jiOsnwG0bcPZG6mWiyPJ81JdYSXWL7FbkceMsbjtYwZ5xzqen0BmMzXt1d7qsfXw8i6CXham+MX86PePZmd1GLas1nUtaJiY3CTMZkeoajx68uZDs9/HR/u/Syq6RFs1/HR9Uv0sDPgAAAAAAAAAAAAMLt5+XD6r9qLeiRLvE/Lr+rL2otaJAXuoaiLUNQEus5R8IG/l1t08Fg5uuutuOJvg8pyl1qg+iXJtcc+HTj0fa+MdWHusXOuqya9cYN+44julu/djZKEOvl3Wvio5vNt92+PAs8fHW0za3UIM15iNV7lY07PhFZ6c+PGTWfF8eL78GVqmCeelZna6d1sLHDPC6E62vKb86Uvnt/O9Jyzebdu3A2aZZyqk34K3LhL+mXaXt5+rQw8jHefGI1+lLLhvWNzO2M1GT3f2DbjbVXXwisnZY15MI+99kYZyO37r4OmnC1KmOmM4Rm3zlJyim3J9Wd8nNOKvruXODDGS3te7H2TVhKlVVHJLm/lSl1lJ9WYnfHdOGNhrhlHEQXkS6SX0c/R6en355/UNRjRe0W8on21JpEx4/TgeIqnXOULIuM4NxnGXBp9ijUdW3z3QjjIeEqyjiILyXyVi+ZP3PocmthKEnCacZRbjKMlk4tc0zbwZ4yx/bKy4Zxz/S4weOsosjbTNwsg84yX5xa6p9Ude3R3yrx8MnlDEQS8LVn/wB4d4+zl6+LaiTDYudU42VTcLIPOEo80/eu6OeRx4yxuO3uHNOOf6fQ2oajVNz99YY6OieUMTBeXDpNfSV916On5vZtRi2rNZ1LVraLRuC6RRsp/Hx9Uv0soukNjv4+Pql+k5etlAAAAAAAAAAAAAa/vNLKdf1Ze1FlRMuN7p5SqfdT9sf8mNw1wGS1jWQKZ7rA9xVMbYTrl5s4yhL1SWT9pabE2NTgqY00rKMVxb4ym8uMpPqy61jWe7+jSbWa3v3tnCYfCyWKSs8J5NVK8+yfTT2y4PV0/Jzb0b0VbPodtmcpPyaq151k8vNXZd30ON4jE4naF7vu1WWy4QrgnKNcekIJcl/smwYpyT+oRZckVhTh9U9KSeqTSjHm828kjvezaPBU11/MrhD7ope40bcrcmVUlicUsprjVVwel/Pl6ey6ezfNRNy8sXmK196R8fHNYmZ+02sayHWNZSWU2s1LfXc9YuLupSWIivUrYr5MvT2f2erZ9Y1ndLzSfKrm1YtGpcDmnFuMk1KLalFrJprmmujKdR03fbc5YlO/DpK+K8qK4K5Lp9bs/s7Za1ufuZLEy8LfGUKIvLTJOMrJJ8Y91HNcfuNinKpNPKWdbBaLeMJ9xd1bL7IYqblXVXJSrcW4yskuifzej78u51XUW1UYwioxSUYpJJcEkuSRXrMrNlnLbylfx44pGoLplWxJf+RH1T9haYi0r3cszxK+rP2EKRuIAAAAAAAAAAAADX99MK5UKxc6pZv6suD/AD0mqYPFnSLoRlFxkk4yTjJPk01k0cx21syeDt08XXJt1T7rs/6l/wCwM3VdmS6zX8NtEvYY9dwMnqGox/jyHjq7gX04qSykk12fFFNdUI+bGMfUkiz8dXceOruBkNQ1GP8AHV3Hjq7gZDUNRj/HV3Hjq7gZDUNRj/HV3Hjq7gZDUNRj/HV3HjqAyGsonbkWEscu5aYjaPpAnxuLMxuPh3KVlz5JeDj6W8nL2R+81XC02Ym1V18W+bfKK6yl6Dp2zMFCiqNUOUVz6yfWT+0C7AzAAAAAAAAAAomys8aAsMTZLoa7tmMrIuEo6ovo+/ddmbfKpMhngYvoByLE4W2p8IuUfRkpL3P8i3//AE9PnKcfXCfuR1yzYlcuaRaW7qUy+SgOWPb1a5zf4LP2lD3kp+k/62ftOmWbi4d/JRaz+DrDvoBzt70UfSr8Nn7Tz+KsP9Mvw2ftN+n8GWHfQil8FuH7AaN/FeG+mX4bP2nn8V4b6Zfhs/abu/gqw/Y8/wCKMOBpP8WYb6Zfhs/ae/xXhvpl+Gz9puv/ABRh+xUvgpw/YDSP4qw/0y/DZ+09W9GH+lX4bP2m8r4LMP2JIfBjh10A0Rby0fS/9bP2lS2/U+U3+Gz9p0CHwcYZdC5r3Ew8fkoDnK2qpctb9ULP8E1NN1r4QcV3nz+yK97R0urdOiPyUXlew6o8kgNV2FhJUrKKyz86T86XrZs+FlLqXcMDBckTRqSApgyU8SPQAAAAAAAAAAAAAAAAAAAAAAAAAAAAAAAAAAAAAAAAAAAAAAAAAAAAAAAAAAAAAAAAAAAAAAAAAAAAAAAAAAAAAAAAAAAAAAAAAAAAAAAAAAAAAAAAAAAAAAAAAAAAAD//2Q=="/>
          <p:cNvSpPr>
            <a:spLocks noChangeAspect="1" noChangeArrowheads="1"/>
          </p:cNvSpPr>
          <p:nvPr/>
        </p:nvSpPr>
        <p:spPr bwMode="auto">
          <a:xfrm>
            <a:off x="155576" y="-144463"/>
            <a:ext cx="30479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ZoneTexte 11"/>
          <p:cNvSpPr txBox="1"/>
          <p:nvPr/>
        </p:nvSpPr>
        <p:spPr>
          <a:xfrm>
            <a:off x="1023911" y="4429132"/>
            <a:ext cx="556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Moi</a:t>
            </a:r>
          </a:p>
        </p:txBody>
      </p:sp>
      <p:pic>
        <p:nvPicPr>
          <p:cNvPr id="77826" name="Picture 2" descr="information, personal icon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9530" y="2928934"/>
            <a:ext cx="1219201" cy="1219201"/>
          </a:xfrm>
          <a:prstGeom prst="rect">
            <a:avLst/>
          </a:prstGeom>
          <a:noFill/>
        </p:spPr>
      </p:pic>
      <p:pic>
        <p:nvPicPr>
          <p:cNvPr id="77828" name="Picture 4" descr="wiki, wikipedia icon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10390" y="1142984"/>
            <a:ext cx="1071570" cy="1071570"/>
          </a:xfrm>
          <a:prstGeom prst="rect">
            <a:avLst/>
          </a:prstGeom>
          <a:noFill/>
        </p:spPr>
      </p:pic>
      <p:pic>
        <p:nvPicPr>
          <p:cNvPr id="77830" name="Picture 6" descr="https://encrypted-tbn1.gstatic.com/images?q=tbn:ANd9GcSLYviubhaGVkcoKjXikTuzxLx0WKo1Aa2_qf7PvGxOUOyEldkPSQ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10388" y="3214685"/>
            <a:ext cx="1071570" cy="1071571"/>
          </a:xfrm>
          <a:prstGeom prst="rect">
            <a:avLst/>
          </a:prstGeom>
          <a:noFill/>
        </p:spPr>
      </p:pic>
      <p:pic>
        <p:nvPicPr>
          <p:cNvPr id="77840" name="Picture 16" descr="http://www.pagosaspringscdc.org/wp-content/uploads/2011/10/117094-matte-blue-and-white-square-icon-business-tools1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881827" y="4500571"/>
            <a:ext cx="1643074" cy="1643074"/>
          </a:xfrm>
          <a:prstGeom prst="rect">
            <a:avLst/>
          </a:prstGeom>
          <a:noFill/>
        </p:spPr>
      </p:pic>
      <p:sp>
        <p:nvSpPr>
          <p:cNvPr id="13" name="ZoneTexte 12"/>
          <p:cNvSpPr txBox="1"/>
          <p:nvPr/>
        </p:nvSpPr>
        <p:spPr>
          <a:xfrm>
            <a:off x="6596075" y="2285992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Wiki SNCF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6524637" y="435769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Réunion 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7310456" y="6072206"/>
            <a:ext cx="71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Vécu</a:t>
            </a:r>
          </a:p>
        </p:txBody>
      </p:sp>
      <p:cxnSp>
        <p:nvCxnSpPr>
          <p:cNvPr id="18" name="Connecteur droit avec flèche 17"/>
          <p:cNvCxnSpPr/>
          <p:nvPr/>
        </p:nvCxnSpPr>
        <p:spPr>
          <a:xfrm rot="10800000" flipV="1">
            <a:off x="4524373" y="1785926"/>
            <a:ext cx="1857388" cy="642942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/>
          <p:nvPr/>
        </p:nvCxnSpPr>
        <p:spPr>
          <a:xfrm rot="10800000">
            <a:off x="5310191" y="3784602"/>
            <a:ext cx="1071570" cy="158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4" name="Connecteur droit avec flèche 23"/>
          <p:cNvCxnSpPr/>
          <p:nvPr/>
        </p:nvCxnSpPr>
        <p:spPr>
          <a:xfrm rot="10800000">
            <a:off x="4738686" y="4857760"/>
            <a:ext cx="2143140" cy="78581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9" name="Connecteur droit avec flèche 28"/>
          <p:cNvCxnSpPr/>
          <p:nvPr/>
        </p:nvCxnSpPr>
        <p:spPr>
          <a:xfrm>
            <a:off x="1452539" y="3786190"/>
            <a:ext cx="1285883" cy="158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3" name="Group 13"/>
          <p:cNvGrpSpPr>
            <a:grpSpLocks/>
          </p:cNvGrpSpPr>
          <p:nvPr/>
        </p:nvGrpSpPr>
        <p:grpSpPr bwMode="auto">
          <a:xfrm rot="2286569">
            <a:off x="3205824" y="4054005"/>
            <a:ext cx="1044177" cy="1179644"/>
            <a:chOff x="4493" y="3308"/>
            <a:chExt cx="696" cy="699"/>
          </a:xfrm>
        </p:grpSpPr>
        <p:sp>
          <p:nvSpPr>
            <p:cNvPr id="32" name="Freeform 50"/>
            <p:cNvSpPr>
              <a:spLocks noEditPoints="1"/>
            </p:cNvSpPr>
            <p:nvPr/>
          </p:nvSpPr>
          <p:spPr bwMode="auto">
            <a:xfrm>
              <a:off x="4493" y="3308"/>
              <a:ext cx="696" cy="699"/>
            </a:xfrm>
            <a:custGeom>
              <a:avLst/>
              <a:gdLst>
                <a:gd name="T0" fmla="*/ 858 w 1392"/>
                <a:gd name="T1" fmla="*/ 805 h 1399"/>
                <a:gd name="T2" fmla="*/ 726 w 1392"/>
                <a:gd name="T3" fmla="*/ 893 h 1399"/>
                <a:gd name="T4" fmla="*/ 584 w 1392"/>
                <a:gd name="T5" fmla="*/ 871 h 1399"/>
                <a:gd name="T6" fmla="*/ 482 w 1392"/>
                <a:gd name="T7" fmla="*/ 749 h 1399"/>
                <a:gd name="T8" fmla="*/ 490 w 1392"/>
                <a:gd name="T9" fmla="*/ 605 h 1399"/>
                <a:gd name="T10" fmla="*/ 601 w 1392"/>
                <a:gd name="T11" fmla="*/ 493 h 1399"/>
                <a:gd name="T12" fmla="*/ 746 w 1392"/>
                <a:gd name="T13" fmla="*/ 486 h 1399"/>
                <a:gd name="T14" fmla="*/ 868 w 1392"/>
                <a:gd name="T15" fmla="*/ 586 h 1399"/>
                <a:gd name="T16" fmla="*/ 1392 w 1392"/>
                <a:gd name="T17" fmla="*/ 730 h 1399"/>
                <a:gd name="T18" fmla="*/ 1281 w 1392"/>
                <a:gd name="T19" fmla="*/ 682 h 1399"/>
                <a:gd name="T20" fmla="*/ 1323 w 1392"/>
                <a:gd name="T21" fmla="*/ 602 h 1399"/>
                <a:gd name="T22" fmla="*/ 1384 w 1392"/>
                <a:gd name="T23" fmla="*/ 542 h 1399"/>
                <a:gd name="T24" fmla="*/ 1283 w 1392"/>
                <a:gd name="T25" fmla="*/ 456 h 1399"/>
                <a:gd name="T26" fmla="*/ 1196 w 1392"/>
                <a:gd name="T27" fmla="*/ 400 h 1399"/>
                <a:gd name="T28" fmla="*/ 1251 w 1392"/>
                <a:gd name="T29" fmla="*/ 315 h 1399"/>
                <a:gd name="T30" fmla="*/ 1216 w 1392"/>
                <a:gd name="T31" fmla="*/ 239 h 1399"/>
                <a:gd name="T32" fmla="*/ 1096 w 1392"/>
                <a:gd name="T33" fmla="*/ 264 h 1399"/>
                <a:gd name="T34" fmla="*/ 1060 w 1392"/>
                <a:gd name="T35" fmla="*/ 208 h 1399"/>
                <a:gd name="T36" fmla="*/ 1064 w 1392"/>
                <a:gd name="T37" fmla="*/ 95 h 1399"/>
                <a:gd name="T38" fmla="*/ 959 w 1392"/>
                <a:gd name="T39" fmla="*/ 87 h 1399"/>
                <a:gd name="T40" fmla="*/ 844 w 1392"/>
                <a:gd name="T41" fmla="*/ 135 h 1399"/>
                <a:gd name="T42" fmla="*/ 820 w 1392"/>
                <a:gd name="T43" fmla="*/ 38 h 1399"/>
                <a:gd name="T44" fmla="*/ 724 w 1392"/>
                <a:gd name="T45" fmla="*/ 0 h 1399"/>
                <a:gd name="T46" fmla="*/ 675 w 1392"/>
                <a:gd name="T47" fmla="*/ 109 h 1399"/>
                <a:gd name="T48" fmla="*/ 608 w 1392"/>
                <a:gd name="T49" fmla="*/ 91 h 1399"/>
                <a:gd name="T50" fmla="*/ 537 w 1392"/>
                <a:gd name="T51" fmla="*/ 16 h 1399"/>
                <a:gd name="T52" fmla="*/ 452 w 1392"/>
                <a:gd name="T53" fmla="*/ 133 h 1399"/>
                <a:gd name="T54" fmla="*/ 397 w 1392"/>
                <a:gd name="T55" fmla="*/ 190 h 1399"/>
                <a:gd name="T56" fmla="*/ 298 w 1392"/>
                <a:gd name="T57" fmla="*/ 132 h 1399"/>
                <a:gd name="T58" fmla="*/ 231 w 1392"/>
                <a:gd name="T59" fmla="*/ 186 h 1399"/>
                <a:gd name="T60" fmla="*/ 270 w 1392"/>
                <a:gd name="T61" fmla="*/ 301 h 1399"/>
                <a:gd name="T62" fmla="*/ 191 w 1392"/>
                <a:gd name="T63" fmla="*/ 322 h 1399"/>
                <a:gd name="T64" fmla="*/ 97 w 1392"/>
                <a:gd name="T65" fmla="*/ 322 h 1399"/>
                <a:gd name="T66" fmla="*/ 98 w 1392"/>
                <a:gd name="T67" fmla="*/ 441 h 1399"/>
                <a:gd name="T68" fmla="*/ 133 w 1392"/>
                <a:gd name="T69" fmla="*/ 539 h 1399"/>
                <a:gd name="T70" fmla="*/ 35 w 1392"/>
                <a:gd name="T71" fmla="*/ 564 h 1399"/>
                <a:gd name="T72" fmla="*/ 0 w 1392"/>
                <a:gd name="T73" fmla="*/ 654 h 1399"/>
                <a:gd name="T74" fmla="*/ 99 w 1392"/>
                <a:gd name="T75" fmla="*/ 705 h 1399"/>
                <a:gd name="T76" fmla="*/ 81 w 1392"/>
                <a:gd name="T77" fmla="*/ 790 h 1399"/>
                <a:gd name="T78" fmla="*/ 29 w 1392"/>
                <a:gd name="T79" fmla="*/ 917 h 1399"/>
                <a:gd name="T80" fmla="*/ 148 w 1392"/>
                <a:gd name="T81" fmla="*/ 940 h 1399"/>
                <a:gd name="T82" fmla="*/ 162 w 1392"/>
                <a:gd name="T83" fmla="*/ 1022 h 1399"/>
                <a:gd name="T84" fmla="*/ 126 w 1392"/>
                <a:gd name="T85" fmla="*/ 1106 h 1399"/>
                <a:gd name="T86" fmla="*/ 258 w 1392"/>
                <a:gd name="T87" fmla="*/ 1145 h 1399"/>
                <a:gd name="T88" fmla="*/ 328 w 1392"/>
                <a:gd name="T89" fmla="*/ 1172 h 1399"/>
                <a:gd name="T90" fmla="*/ 312 w 1392"/>
                <a:gd name="T91" fmla="*/ 1297 h 1399"/>
                <a:gd name="T92" fmla="*/ 431 w 1392"/>
                <a:gd name="T93" fmla="*/ 1301 h 1399"/>
                <a:gd name="T94" fmla="*/ 542 w 1392"/>
                <a:gd name="T95" fmla="*/ 1270 h 1399"/>
                <a:gd name="T96" fmla="*/ 573 w 1392"/>
                <a:gd name="T97" fmla="*/ 1375 h 1399"/>
                <a:gd name="T98" fmla="*/ 656 w 1392"/>
                <a:gd name="T99" fmla="*/ 1398 h 1399"/>
                <a:gd name="T100" fmla="*/ 707 w 1392"/>
                <a:gd name="T101" fmla="*/ 1301 h 1399"/>
                <a:gd name="T102" fmla="*/ 789 w 1392"/>
                <a:gd name="T103" fmla="*/ 1318 h 1399"/>
                <a:gd name="T104" fmla="*/ 846 w 1392"/>
                <a:gd name="T105" fmla="*/ 1386 h 1399"/>
                <a:gd name="T106" fmla="*/ 937 w 1392"/>
                <a:gd name="T107" fmla="*/ 1309 h 1399"/>
                <a:gd name="T108" fmla="*/ 993 w 1392"/>
                <a:gd name="T109" fmla="*/ 1209 h 1399"/>
                <a:gd name="T110" fmla="*/ 1076 w 1392"/>
                <a:gd name="T111" fmla="*/ 1266 h 1399"/>
                <a:gd name="T112" fmla="*/ 1153 w 1392"/>
                <a:gd name="T113" fmla="*/ 1222 h 1399"/>
                <a:gd name="T114" fmla="*/ 1125 w 1392"/>
                <a:gd name="T115" fmla="*/ 1103 h 1399"/>
                <a:gd name="T116" fmla="*/ 1209 w 1392"/>
                <a:gd name="T117" fmla="*/ 1078 h 1399"/>
                <a:gd name="T118" fmla="*/ 1323 w 1392"/>
                <a:gd name="T119" fmla="*/ 1018 h 1399"/>
                <a:gd name="T120" fmla="*/ 1251 w 1392"/>
                <a:gd name="T121" fmla="*/ 919 h 1399"/>
                <a:gd name="T122" fmla="*/ 1297 w 1392"/>
                <a:gd name="T123" fmla="*/ 847 h 1399"/>
                <a:gd name="T124" fmla="*/ 1392 w 1392"/>
                <a:gd name="T125" fmla="*/ 799 h 139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92"/>
                <a:gd name="T190" fmla="*/ 0 h 1399"/>
                <a:gd name="T191" fmla="*/ 1392 w 1392"/>
                <a:gd name="T192" fmla="*/ 1399 h 139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92" h="1399">
                  <a:moveTo>
                    <a:pt x="894" y="687"/>
                  </a:moveTo>
                  <a:lnTo>
                    <a:pt x="894" y="687"/>
                  </a:lnTo>
                  <a:lnTo>
                    <a:pt x="892" y="708"/>
                  </a:lnTo>
                  <a:lnTo>
                    <a:pt x="889" y="729"/>
                  </a:lnTo>
                  <a:lnTo>
                    <a:pt x="884" y="749"/>
                  </a:lnTo>
                  <a:lnTo>
                    <a:pt x="877" y="769"/>
                  </a:lnTo>
                  <a:lnTo>
                    <a:pt x="868" y="787"/>
                  </a:lnTo>
                  <a:lnTo>
                    <a:pt x="858" y="805"/>
                  </a:lnTo>
                  <a:lnTo>
                    <a:pt x="845" y="821"/>
                  </a:lnTo>
                  <a:lnTo>
                    <a:pt x="832" y="835"/>
                  </a:lnTo>
                  <a:lnTo>
                    <a:pt x="818" y="849"/>
                  </a:lnTo>
                  <a:lnTo>
                    <a:pt x="801" y="861"/>
                  </a:lnTo>
                  <a:lnTo>
                    <a:pt x="784" y="871"/>
                  </a:lnTo>
                  <a:lnTo>
                    <a:pt x="765" y="880"/>
                  </a:lnTo>
                  <a:lnTo>
                    <a:pt x="746" y="888"/>
                  </a:lnTo>
                  <a:lnTo>
                    <a:pt x="726" y="893"/>
                  </a:lnTo>
                  <a:lnTo>
                    <a:pt x="705" y="896"/>
                  </a:lnTo>
                  <a:lnTo>
                    <a:pt x="683" y="897"/>
                  </a:lnTo>
                  <a:lnTo>
                    <a:pt x="662" y="896"/>
                  </a:lnTo>
                  <a:lnTo>
                    <a:pt x="641" y="893"/>
                  </a:lnTo>
                  <a:lnTo>
                    <a:pt x="621" y="888"/>
                  </a:lnTo>
                  <a:lnTo>
                    <a:pt x="601" y="880"/>
                  </a:lnTo>
                  <a:lnTo>
                    <a:pt x="584" y="871"/>
                  </a:lnTo>
                  <a:lnTo>
                    <a:pt x="567" y="861"/>
                  </a:lnTo>
                  <a:lnTo>
                    <a:pt x="550" y="849"/>
                  </a:lnTo>
                  <a:lnTo>
                    <a:pt x="535" y="835"/>
                  </a:lnTo>
                  <a:lnTo>
                    <a:pt x="521" y="821"/>
                  </a:lnTo>
                  <a:lnTo>
                    <a:pt x="509" y="805"/>
                  </a:lnTo>
                  <a:lnTo>
                    <a:pt x="499" y="787"/>
                  </a:lnTo>
                  <a:lnTo>
                    <a:pt x="490" y="769"/>
                  </a:lnTo>
                  <a:lnTo>
                    <a:pt x="482" y="749"/>
                  </a:lnTo>
                  <a:lnTo>
                    <a:pt x="477" y="729"/>
                  </a:lnTo>
                  <a:lnTo>
                    <a:pt x="474" y="708"/>
                  </a:lnTo>
                  <a:lnTo>
                    <a:pt x="473" y="687"/>
                  </a:lnTo>
                  <a:lnTo>
                    <a:pt x="474" y="665"/>
                  </a:lnTo>
                  <a:lnTo>
                    <a:pt x="477" y="645"/>
                  </a:lnTo>
                  <a:lnTo>
                    <a:pt x="482" y="624"/>
                  </a:lnTo>
                  <a:lnTo>
                    <a:pt x="490" y="605"/>
                  </a:lnTo>
                  <a:lnTo>
                    <a:pt x="499" y="586"/>
                  </a:lnTo>
                  <a:lnTo>
                    <a:pt x="509" y="570"/>
                  </a:lnTo>
                  <a:lnTo>
                    <a:pt x="521" y="553"/>
                  </a:lnTo>
                  <a:lnTo>
                    <a:pt x="535" y="538"/>
                  </a:lnTo>
                  <a:lnTo>
                    <a:pt x="550" y="525"/>
                  </a:lnTo>
                  <a:lnTo>
                    <a:pt x="567" y="512"/>
                  </a:lnTo>
                  <a:lnTo>
                    <a:pt x="584" y="502"/>
                  </a:lnTo>
                  <a:lnTo>
                    <a:pt x="601" y="493"/>
                  </a:lnTo>
                  <a:lnTo>
                    <a:pt x="621" y="486"/>
                  </a:lnTo>
                  <a:lnTo>
                    <a:pt x="641" y="481"/>
                  </a:lnTo>
                  <a:lnTo>
                    <a:pt x="662" y="478"/>
                  </a:lnTo>
                  <a:lnTo>
                    <a:pt x="683" y="477"/>
                  </a:lnTo>
                  <a:lnTo>
                    <a:pt x="705" y="478"/>
                  </a:lnTo>
                  <a:lnTo>
                    <a:pt x="726" y="481"/>
                  </a:lnTo>
                  <a:lnTo>
                    <a:pt x="746" y="486"/>
                  </a:lnTo>
                  <a:lnTo>
                    <a:pt x="765" y="493"/>
                  </a:lnTo>
                  <a:lnTo>
                    <a:pt x="784" y="502"/>
                  </a:lnTo>
                  <a:lnTo>
                    <a:pt x="801" y="512"/>
                  </a:lnTo>
                  <a:lnTo>
                    <a:pt x="818" y="525"/>
                  </a:lnTo>
                  <a:lnTo>
                    <a:pt x="832" y="538"/>
                  </a:lnTo>
                  <a:lnTo>
                    <a:pt x="845" y="553"/>
                  </a:lnTo>
                  <a:lnTo>
                    <a:pt x="858" y="570"/>
                  </a:lnTo>
                  <a:lnTo>
                    <a:pt x="868" y="586"/>
                  </a:lnTo>
                  <a:lnTo>
                    <a:pt x="877" y="605"/>
                  </a:lnTo>
                  <a:lnTo>
                    <a:pt x="884" y="624"/>
                  </a:lnTo>
                  <a:lnTo>
                    <a:pt x="889" y="645"/>
                  </a:lnTo>
                  <a:lnTo>
                    <a:pt x="892" y="665"/>
                  </a:lnTo>
                  <a:lnTo>
                    <a:pt x="894" y="687"/>
                  </a:lnTo>
                  <a:close/>
                  <a:moveTo>
                    <a:pt x="1392" y="730"/>
                  </a:moveTo>
                  <a:lnTo>
                    <a:pt x="1392" y="730"/>
                  </a:lnTo>
                  <a:lnTo>
                    <a:pt x="1376" y="717"/>
                  </a:lnTo>
                  <a:lnTo>
                    <a:pt x="1361" y="708"/>
                  </a:lnTo>
                  <a:lnTo>
                    <a:pt x="1346" y="700"/>
                  </a:lnTo>
                  <a:lnTo>
                    <a:pt x="1330" y="693"/>
                  </a:lnTo>
                  <a:lnTo>
                    <a:pt x="1317" y="689"/>
                  </a:lnTo>
                  <a:lnTo>
                    <a:pt x="1304" y="686"/>
                  </a:lnTo>
                  <a:lnTo>
                    <a:pt x="1291" y="683"/>
                  </a:lnTo>
                  <a:lnTo>
                    <a:pt x="1281" y="682"/>
                  </a:lnTo>
                  <a:lnTo>
                    <a:pt x="1279" y="652"/>
                  </a:lnTo>
                  <a:lnTo>
                    <a:pt x="1276" y="623"/>
                  </a:lnTo>
                  <a:lnTo>
                    <a:pt x="1285" y="620"/>
                  </a:lnTo>
                  <a:lnTo>
                    <a:pt x="1295" y="616"/>
                  </a:lnTo>
                  <a:lnTo>
                    <a:pt x="1309" y="610"/>
                  </a:lnTo>
                  <a:lnTo>
                    <a:pt x="1323" y="602"/>
                  </a:lnTo>
                  <a:lnTo>
                    <a:pt x="1338" y="590"/>
                  </a:lnTo>
                  <a:lnTo>
                    <a:pt x="1354" y="577"/>
                  </a:lnTo>
                  <a:lnTo>
                    <a:pt x="1369" y="562"/>
                  </a:lnTo>
                  <a:lnTo>
                    <a:pt x="1376" y="551"/>
                  </a:lnTo>
                  <a:lnTo>
                    <a:pt x="1384" y="542"/>
                  </a:lnTo>
                  <a:lnTo>
                    <a:pt x="1384" y="541"/>
                  </a:lnTo>
                  <a:lnTo>
                    <a:pt x="1366" y="475"/>
                  </a:lnTo>
                  <a:lnTo>
                    <a:pt x="1352" y="469"/>
                  </a:lnTo>
                  <a:lnTo>
                    <a:pt x="1336" y="465"/>
                  </a:lnTo>
                  <a:lnTo>
                    <a:pt x="1317" y="461"/>
                  </a:lnTo>
                  <a:lnTo>
                    <a:pt x="1295" y="457"/>
                  </a:lnTo>
                  <a:lnTo>
                    <a:pt x="1283" y="456"/>
                  </a:lnTo>
                  <a:lnTo>
                    <a:pt x="1272" y="455"/>
                  </a:lnTo>
                  <a:lnTo>
                    <a:pt x="1260" y="455"/>
                  </a:lnTo>
                  <a:lnTo>
                    <a:pt x="1249" y="456"/>
                  </a:lnTo>
                  <a:lnTo>
                    <a:pt x="1239" y="457"/>
                  </a:lnTo>
                  <a:lnTo>
                    <a:pt x="1229" y="460"/>
                  </a:lnTo>
                  <a:lnTo>
                    <a:pt x="1213" y="429"/>
                  </a:lnTo>
                  <a:lnTo>
                    <a:pt x="1196" y="400"/>
                  </a:lnTo>
                  <a:lnTo>
                    <a:pt x="1203" y="393"/>
                  </a:lnTo>
                  <a:lnTo>
                    <a:pt x="1211" y="383"/>
                  </a:lnTo>
                  <a:lnTo>
                    <a:pt x="1221" y="373"/>
                  </a:lnTo>
                  <a:lnTo>
                    <a:pt x="1229" y="361"/>
                  </a:lnTo>
                  <a:lnTo>
                    <a:pt x="1237" y="347"/>
                  </a:lnTo>
                  <a:lnTo>
                    <a:pt x="1244" y="332"/>
                  </a:lnTo>
                  <a:lnTo>
                    <a:pt x="1251" y="315"/>
                  </a:lnTo>
                  <a:lnTo>
                    <a:pt x="1256" y="295"/>
                  </a:lnTo>
                  <a:lnTo>
                    <a:pt x="1216" y="239"/>
                  </a:lnTo>
                  <a:lnTo>
                    <a:pt x="1205" y="238"/>
                  </a:lnTo>
                  <a:lnTo>
                    <a:pt x="1193" y="238"/>
                  </a:lnTo>
                  <a:lnTo>
                    <a:pt x="1171" y="239"/>
                  </a:lnTo>
                  <a:lnTo>
                    <a:pt x="1152" y="243"/>
                  </a:lnTo>
                  <a:lnTo>
                    <a:pt x="1134" y="247"/>
                  </a:lnTo>
                  <a:lnTo>
                    <a:pt x="1120" y="252"/>
                  </a:lnTo>
                  <a:lnTo>
                    <a:pt x="1107" y="258"/>
                  </a:lnTo>
                  <a:lnTo>
                    <a:pt x="1096" y="264"/>
                  </a:lnTo>
                  <a:lnTo>
                    <a:pt x="1087" y="270"/>
                  </a:lnTo>
                  <a:lnTo>
                    <a:pt x="1068" y="252"/>
                  </a:lnTo>
                  <a:lnTo>
                    <a:pt x="1047" y="237"/>
                  </a:lnTo>
                  <a:lnTo>
                    <a:pt x="1050" y="231"/>
                  </a:lnTo>
                  <a:lnTo>
                    <a:pt x="1055" y="221"/>
                  </a:lnTo>
                  <a:lnTo>
                    <a:pt x="1060" y="208"/>
                  </a:lnTo>
                  <a:lnTo>
                    <a:pt x="1065" y="192"/>
                  </a:lnTo>
                  <a:lnTo>
                    <a:pt x="1068" y="172"/>
                  </a:lnTo>
                  <a:lnTo>
                    <a:pt x="1069" y="161"/>
                  </a:lnTo>
                  <a:lnTo>
                    <a:pt x="1070" y="149"/>
                  </a:lnTo>
                  <a:lnTo>
                    <a:pt x="1070" y="136"/>
                  </a:lnTo>
                  <a:lnTo>
                    <a:pt x="1069" y="123"/>
                  </a:lnTo>
                  <a:lnTo>
                    <a:pt x="1067" y="110"/>
                  </a:lnTo>
                  <a:lnTo>
                    <a:pt x="1064" y="95"/>
                  </a:lnTo>
                  <a:lnTo>
                    <a:pt x="1002" y="64"/>
                  </a:lnTo>
                  <a:lnTo>
                    <a:pt x="990" y="69"/>
                  </a:lnTo>
                  <a:lnTo>
                    <a:pt x="979" y="75"/>
                  </a:lnTo>
                  <a:lnTo>
                    <a:pt x="968" y="80"/>
                  </a:lnTo>
                  <a:lnTo>
                    <a:pt x="959" y="87"/>
                  </a:lnTo>
                  <a:lnTo>
                    <a:pt x="943" y="99"/>
                  </a:lnTo>
                  <a:lnTo>
                    <a:pt x="928" y="113"/>
                  </a:lnTo>
                  <a:lnTo>
                    <a:pt x="918" y="126"/>
                  </a:lnTo>
                  <a:lnTo>
                    <a:pt x="909" y="137"/>
                  </a:lnTo>
                  <a:lnTo>
                    <a:pt x="903" y="148"/>
                  </a:lnTo>
                  <a:lnTo>
                    <a:pt x="899" y="155"/>
                  </a:lnTo>
                  <a:lnTo>
                    <a:pt x="844" y="135"/>
                  </a:lnTo>
                  <a:lnTo>
                    <a:pt x="844" y="124"/>
                  </a:lnTo>
                  <a:lnTo>
                    <a:pt x="843" y="111"/>
                  </a:lnTo>
                  <a:lnTo>
                    <a:pt x="840" y="93"/>
                  </a:lnTo>
                  <a:lnTo>
                    <a:pt x="835" y="73"/>
                  </a:lnTo>
                  <a:lnTo>
                    <a:pt x="831" y="62"/>
                  </a:lnTo>
                  <a:lnTo>
                    <a:pt x="826" y="50"/>
                  </a:lnTo>
                  <a:lnTo>
                    <a:pt x="820" y="38"/>
                  </a:lnTo>
                  <a:lnTo>
                    <a:pt x="813" y="26"/>
                  </a:lnTo>
                  <a:lnTo>
                    <a:pt x="804" y="13"/>
                  </a:lnTo>
                  <a:lnTo>
                    <a:pt x="794" y="1"/>
                  </a:lnTo>
                  <a:lnTo>
                    <a:pt x="724" y="0"/>
                  </a:lnTo>
                  <a:lnTo>
                    <a:pt x="711" y="18"/>
                  </a:lnTo>
                  <a:lnTo>
                    <a:pt x="700" y="35"/>
                  </a:lnTo>
                  <a:lnTo>
                    <a:pt x="692" y="52"/>
                  </a:lnTo>
                  <a:lnTo>
                    <a:pt x="685" y="69"/>
                  </a:lnTo>
                  <a:lnTo>
                    <a:pt x="680" y="83"/>
                  </a:lnTo>
                  <a:lnTo>
                    <a:pt x="677" y="97"/>
                  </a:lnTo>
                  <a:lnTo>
                    <a:pt x="675" y="109"/>
                  </a:lnTo>
                  <a:lnTo>
                    <a:pt x="675" y="119"/>
                  </a:lnTo>
                  <a:lnTo>
                    <a:pt x="648" y="121"/>
                  </a:lnTo>
                  <a:lnTo>
                    <a:pt x="622" y="123"/>
                  </a:lnTo>
                  <a:lnTo>
                    <a:pt x="619" y="115"/>
                  </a:lnTo>
                  <a:lnTo>
                    <a:pt x="614" y="104"/>
                  </a:lnTo>
                  <a:lnTo>
                    <a:pt x="608" y="91"/>
                  </a:lnTo>
                  <a:lnTo>
                    <a:pt x="599" y="77"/>
                  </a:lnTo>
                  <a:lnTo>
                    <a:pt x="588" y="62"/>
                  </a:lnTo>
                  <a:lnTo>
                    <a:pt x="574" y="46"/>
                  </a:lnTo>
                  <a:lnTo>
                    <a:pt x="566" y="39"/>
                  </a:lnTo>
                  <a:lnTo>
                    <a:pt x="557" y="31"/>
                  </a:lnTo>
                  <a:lnTo>
                    <a:pt x="547" y="24"/>
                  </a:lnTo>
                  <a:lnTo>
                    <a:pt x="537" y="16"/>
                  </a:lnTo>
                  <a:lnTo>
                    <a:pt x="470" y="36"/>
                  </a:lnTo>
                  <a:lnTo>
                    <a:pt x="465" y="47"/>
                  </a:lnTo>
                  <a:lnTo>
                    <a:pt x="462" y="58"/>
                  </a:lnTo>
                  <a:lnTo>
                    <a:pt x="456" y="79"/>
                  </a:lnTo>
                  <a:lnTo>
                    <a:pt x="453" y="99"/>
                  </a:lnTo>
                  <a:lnTo>
                    <a:pt x="452" y="117"/>
                  </a:lnTo>
                  <a:lnTo>
                    <a:pt x="452" y="133"/>
                  </a:lnTo>
                  <a:lnTo>
                    <a:pt x="454" y="148"/>
                  </a:lnTo>
                  <a:lnTo>
                    <a:pt x="456" y="160"/>
                  </a:lnTo>
                  <a:lnTo>
                    <a:pt x="458" y="169"/>
                  </a:lnTo>
                  <a:lnTo>
                    <a:pt x="430" y="182"/>
                  </a:lnTo>
                  <a:lnTo>
                    <a:pt x="404" y="197"/>
                  </a:lnTo>
                  <a:lnTo>
                    <a:pt x="397" y="190"/>
                  </a:lnTo>
                  <a:lnTo>
                    <a:pt x="389" y="181"/>
                  </a:lnTo>
                  <a:lnTo>
                    <a:pt x="378" y="172"/>
                  </a:lnTo>
                  <a:lnTo>
                    <a:pt x="365" y="162"/>
                  </a:lnTo>
                  <a:lnTo>
                    <a:pt x="349" y="153"/>
                  </a:lnTo>
                  <a:lnTo>
                    <a:pt x="331" y="143"/>
                  </a:lnTo>
                  <a:lnTo>
                    <a:pt x="321" y="139"/>
                  </a:lnTo>
                  <a:lnTo>
                    <a:pt x="309" y="136"/>
                  </a:lnTo>
                  <a:lnTo>
                    <a:pt x="298" y="132"/>
                  </a:lnTo>
                  <a:lnTo>
                    <a:pt x="286" y="130"/>
                  </a:lnTo>
                  <a:lnTo>
                    <a:pt x="231" y="173"/>
                  </a:lnTo>
                  <a:lnTo>
                    <a:pt x="231" y="186"/>
                  </a:lnTo>
                  <a:lnTo>
                    <a:pt x="232" y="197"/>
                  </a:lnTo>
                  <a:lnTo>
                    <a:pt x="234" y="219"/>
                  </a:lnTo>
                  <a:lnTo>
                    <a:pt x="240" y="239"/>
                  </a:lnTo>
                  <a:lnTo>
                    <a:pt x="245" y="256"/>
                  </a:lnTo>
                  <a:lnTo>
                    <a:pt x="252" y="272"/>
                  </a:lnTo>
                  <a:lnTo>
                    <a:pt x="258" y="284"/>
                  </a:lnTo>
                  <a:lnTo>
                    <a:pt x="265" y="294"/>
                  </a:lnTo>
                  <a:lnTo>
                    <a:pt x="270" y="301"/>
                  </a:lnTo>
                  <a:lnTo>
                    <a:pt x="254" y="320"/>
                  </a:lnTo>
                  <a:lnTo>
                    <a:pt x="237" y="339"/>
                  </a:lnTo>
                  <a:lnTo>
                    <a:pt x="231" y="336"/>
                  </a:lnTo>
                  <a:lnTo>
                    <a:pt x="222" y="331"/>
                  </a:lnTo>
                  <a:lnTo>
                    <a:pt x="209" y="326"/>
                  </a:lnTo>
                  <a:lnTo>
                    <a:pt x="191" y="322"/>
                  </a:lnTo>
                  <a:lnTo>
                    <a:pt x="172" y="318"/>
                  </a:lnTo>
                  <a:lnTo>
                    <a:pt x="162" y="317"/>
                  </a:lnTo>
                  <a:lnTo>
                    <a:pt x="149" y="317"/>
                  </a:lnTo>
                  <a:lnTo>
                    <a:pt x="137" y="317"/>
                  </a:lnTo>
                  <a:lnTo>
                    <a:pt x="125" y="318"/>
                  </a:lnTo>
                  <a:lnTo>
                    <a:pt x="111" y="320"/>
                  </a:lnTo>
                  <a:lnTo>
                    <a:pt x="97" y="322"/>
                  </a:lnTo>
                  <a:lnTo>
                    <a:pt x="65" y="383"/>
                  </a:lnTo>
                  <a:lnTo>
                    <a:pt x="69" y="395"/>
                  </a:lnTo>
                  <a:lnTo>
                    <a:pt x="74" y="405"/>
                  </a:lnTo>
                  <a:lnTo>
                    <a:pt x="87" y="424"/>
                  </a:lnTo>
                  <a:lnTo>
                    <a:pt x="98" y="441"/>
                  </a:lnTo>
                  <a:lnTo>
                    <a:pt x="110" y="454"/>
                  </a:lnTo>
                  <a:lnTo>
                    <a:pt x="123" y="465"/>
                  </a:lnTo>
                  <a:lnTo>
                    <a:pt x="134" y="474"/>
                  </a:lnTo>
                  <a:lnTo>
                    <a:pt x="144" y="481"/>
                  </a:lnTo>
                  <a:lnTo>
                    <a:pt x="152" y="486"/>
                  </a:lnTo>
                  <a:lnTo>
                    <a:pt x="142" y="512"/>
                  </a:lnTo>
                  <a:lnTo>
                    <a:pt x="133" y="539"/>
                  </a:lnTo>
                  <a:lnTo>
                    <a:pt x="125" y="539"/>
                  </a:lnTo>
                  <a:lnTo>
                    <a:pt x="113" y="540"/>
                  </a:lnTo>
                  <a:lnTo>
                    <a:pt x="99" y="541"/>
                  </a:lnTo>
                  <a:lnTo>
                    <a:pt x="83" y="545"/>
                  </a:lnTo>
                  <a:lnTo>
                    <a:pt x="64" y="550"/>
                  </a:lnTo>
                  <a:lnTo>
                    <a:pt x="45" y="559"/>
                  </a:lnTo>
                  <a:lnTo>
                    <a:pt x="35" y="564"/>
                  </a:lnTo>
                  <a:lnTo>
                    <a:pt x="24" y="570"/>
                  </a:lnTo>
                  <a:lnTo>
                    <a:pt x="13" y="577"/>
                  </a:lnTo>
                  <a:lnTo>
                    <a:pt x="3" y="585"/>
                  </a:lnTo>
                  <a:lnTo>
                    <a:pt x="0" y="654"/>
                  </a:lnTo>
                  <a:lnTo>
                    <a:pt x="15" y="667"/>
                  </a:lnTo>
                  <a:lnTo>
                    <a:pt x="30" y="677"/>
                  </a:lnTo>
                  <a:lnTo>
                    <a:pt x="46" y="687"/>
                  </a:lnTo>
                  <a:lnTo>
                    <a:pt x="60" y="694"/>
                  </a:lnTo>
                  <a:lnTo>
                    <a:pt x="74" y="699"/>
                  </a:lnTo>
                  <a:lnTo>
                    <a:pt x="88" y="703"/>
                  </a:lnTo>
                  <a:lnTo>
                    <a:pt x="99" y="705"/>
                  </a:lnTo>
                  <a:lnTo>
                    <a:pt x="109" y="707"/>
                  </a:lnTo>
                  <a:lnTo>
                    <a:pt x="110" y="742"/>
                  </a:lnTo>
                  <a:lnTo>
                    <a:pt x="113" y="775"/>
                  </a:lnTo>
                  <a:lnTo>
                    <a:pt x="104" y="779"/>
                  </a:lnTo>
                  <a:lnTo>
                    <a:pt x="93" y="784"/>
                  </a:lnTo>
                  <a:lnTo>
                    <a:pt x="81" y="790"/>
                  </a:lnTo>
                  <a:lnTo>
                    <a:pt x="67" y="798"/>
                  </a:lnTo>
                  <a:lnTo>
                    <a:pt x="54" y="808"/>
                  </a:lnTo>
                  <a:lnTo>
                    <a:pt x="41" y="820"/>
                  </a:lnTo>
                  <a:lnTo>
                    <a:pt x="27" y="833"/>
                  </a:lnTo>
                  <a:lnTo>
                    <a:pt x="14" y="850"/>
                  </a:lnTo>
                  <a:lnTo>
                    <a:pt x="29" y="917"/>
                  </a:lnTo>
                  <a:lnTo>
                    <a:pt x="50" y="926"/>
                  </a:lnTo>
                  <a:lnTo>
                    <a:pt x="70" y="934"/>
                  </a:lnTo>
                  <a:lnTo>
                    <a:pt x="89" y="938"/>
                  </a:lnTo>
                  <a:lnTo>
                    <a:pt x="106" y="940"/>
                  </a:lnTo>
                  <a:lnTo>
                    <a:pt x="122" y="941"/>
                  </a:lnTo>
                  <a:lnTo>
                    <a:pt x="136" y="941"/>
                  </a:lnTo>
                  <a:lnTo>
                    <a:pt x="148" y="940"/>
                  </a:lnTo>
                  <a:lnTo>
                    <a:pt x="159" y="939"/>
                  </a:lnTo>
                  <a:lnTo>
                    <a:pt x="172" y="966"/>
                  </a:lnTo>
                  <a:lnTo>
                    <a:pt x="186" y="994"/>
                  </a:lnTo>
                  <a:lnTo>
                    <a:pt x="179" y="1001"/>
                  </a:lnTo>
                  <a:lnTo>
                    <a:pt x="171" y="1011"/>
                  </a:lnTo>
                  <a:lnTo>
                    <a:pt x="162" y="1022"/>
                  </a:lnTo>
                  <a:lnTo>
                    <a:pt x="153" y="1034"/>
                  </a:lnTo>
                  <a:lnTo>
                    <a:pt x="145" y="1049"/>
                  </a:lnTo>
                  <a:lnTo>
                    <a:pt x="137" y="1066"/>
                  </a:lnTo>
                  <a:lnTo>
                    <a:pt x="131" y="1085"/>
                  </a:lnTo>
                  <a:lnTo>
                    <a:pt x="126" y="1106"/>
                  </a:lnTo>
                  <a:lnTo>
                    <a:pt x="126" y="1107"/>
                  </a:lnTo>
                  <a:lnTo>
                    <a:pt x="169" y="1160"/>
                  </a:lnTo>
                  <a:lnTo>
                    <a:pt x="190" y="1160"/>
                  </a:lnTo>
                  <a:lnTo>
                    <a:pt x="210" y="1158"/>
                  </a:lnTo>
                  <a:lnTo>
                    <a:pt x="227" y="1155"/>
                  </a:lnTo>
                  <a:lnTo>
                    <a:pt x="244" y="1150"/>
                  </a:lnTo>
                  <a:lnTo>
                    <a:pt x="258" y="1145"/>
                  </a:lnTo>
                  <a:lnTo>
                    <a:pt x="270" y="1139"/>
                  </a:lnTo>
                  <a:lnTo>
                    <a:pt x="282" y="1132"/>
                  </a:lnTo>
                  <a:lnTo>
                    <a:pt x="290" y="1127"/>
                  </a:lnTo>
                  <a:lnTo>
                    <a:pt x="310" y="1147"/>
                  </a:lnTo>
                  <a:lnTo>
                    <a:pt x="333" y="1164"/>
                  </a:lnTo>
                  <a:lnTo>
                    <a:pt x="328" y="1172"/>
                  </a:lnTo>
                  <a:lnTo>
                    <a:pt x="324" y="1184"/>
                  </a:lnTo>
                  <a:lnTo>
                    <a:pt x="318" y="1197"/>
                  </a:lnTo>
                  <a:lnTo>
                    <a:pt x="314" y="1213"/>
                  </a:lnTo>
                  <a:lnTo>
                    <a:pt x="311" y="1231"/>
                  </a:lnTo>
                  <a:lnTo>
                    <a:pt x="309" y="1251"/>
                  </a:lnTo>
                  <a:lnTo>
                    <a:pt x="309" y="1273"/>
                  </a:lnTo>
                  <a:lnTo>
                    <a:pt x="310" y="1285"/>
                  </a:lnTo>
                  <a:lnTo>
                    <a:pt x="312" y="1297"/>
                  </a:lnTo>
                  <a:lnTo>
                    <a:pt x="372" y="1332"/>
                  </a:lnTo>
                  <a:lnTo>
                    <a:pt x="384" y="1328"/>
                  </a:lnTo>
                  <a:lnTo>
                    <a:pt x="395" y="1323"/>
                  </a:lnTo>
                  <a:lnTo>
                    <a:pt x="406" y="1318"/>
                  </a:lnTo>
                  <a:lnTo>
                    <a:pt x="415" y="1313"/>
                  </a:lnTo>
                  <a:lnTo>
                    <a:pt x="431" y="1301"/>
                  </a:lnTo>
                  <a:lnTo>
                    <a:pt x="446" y="1289"/>
                  </a:lnTo>
                  <a:lnTo>
                    <a:pt x="458" y="1277"/>
                  </a:lnTo>
                  <a:lnTo>
                    <a:pt x="467" y="1267"/>
                  </a:lnTo>
                  <a:lnTo>
                    <a:pt x="474" y="1257"/>
                  </a:lnTo>
                  <a:lnTo>
                    <a:pt x="479" y="1249"/>
                  </a:lnTo>
                  <a:lnTo>
                    <a:pt x="510" y="1261"/>
                  </a:lnTo>
                  <a:lnTo>
                    <a:pt x="542" y="1270"/>
                  </a:lnTo>
                  <a:lnTo>
                    <a:pt x="542" y="1280"/>
                  </a:lnTo>
                  <a:lnTo>
                    <a:pt x="543" y="1291"/>
                  </a:lnTo>
                  <a:lnTo>
                    <a:pt x="545" y="1306"/>
                  </a:lnTo>
                  <a:lnTo>
                    <a:pt x="549" y="1322"/>
                  </a:lnTo>
                  <a:lnTo>
                    <a:pt x="554" y="1338"/>
                  </a:lnTo>
                  <a:lnTo>
                    <a:pt x="562" y="1357"/>
                  </a:lnTo>
                  <a:lnTo>
                    <a:pt x="573" y="1375"/>
                  </a:lnTo>
                  <a:lnTo>
                    <a:pt x="579" y="1386"/>
                  </a:lnTo>
                  <a:lnTo>
                    <a:pt x="586" y="1395"/>
                  </a:lnTo>
                  <a:lnTo>
                    <a:pt x="656" y="1399"/>
                  </a:lnTo>
                  <a:lnTo>
                    <a:pt x="656" y="1398"/>
                  </a:lnTo>
                  <a:lnTo>
                    <a:pt x="668" y="1384"/>
                  </a:lnTo>
                  <a:lnTo>
                    <a:pt x="679" y="1368"/>
                  </a:lnTo>
                  <a:lnTo>
                    <a:pt x="689" y="1353"/>
                  </a:lnTo>
                  <a:lnTo>
                    <a:pt x="695" y="1338"/>
                  </a:lnTo>
                  <a:lnTo>
                    <a:pt x="701" y="1325"/>
                  </a:lnTo>
                  <a:lnTo>
                    <a:pt x="705" y="1313"/>
                  </a:lnTo>
                  <a:lnTo>
                    <a:pt x="707" y="1301"/>
                  </a:lnTo>
                  <a:lnTo>
                    <a:pt x="709" y="1290"/>
                  </a:lnTo>
                  <a:lnTo>
                    <a:pt x="742" y="1288"/>
                  </a:lnTo>
                  <a:lnTo>
                    <a:pt x="775" y="1285"/>
                  </a:lnTo>
                  <a:lnTo>
                    <a:pt x="778" y="1295"/>
                  </a:lnTo>
                  <a:lnTo>
                    <a:pt x="783" y="1307"/>
                  </a:lnTo>
                  <a:lnTo>
                    <a:pt x="789" y="1318"/>
                  </a:lnTo>
                  <a:lnTo>
                    <a:pt x="796" y="1331"/>
                  </a:lnTo>
                  <a:lnTo>
                    <a:pt x="805" y="1345"/>
                  </a:lnTo>
                  <a:lnTo>
                    <a:pt x="818" y="1359"/>
                  </a:lnTo>
                  <a:lnTo>
                    <a:pt x="831" y="1372"/>
                  </a:lnTo>
                  <a:lnTo>
                    <a:pt x="846" y="1386"/>
                  </a:lnTo>
                  <a:lnTo>
                    <a:pt x="915" y="1371"/>
                  </a:lnTo>
                  <a:lnTo>
                    <a:pt x="920" y="1360"/>
                  </a:lnTo>
                  <a:lnTo>
                    <a:pt x="925" y="1350"/>
                  </a:lnTo>
                  <a:lnTo>
                    <a:pt x="932" y="1328"/>
                  </a:lnTo>
                  <a:lnTo>
                    <a:pt x="937" y="1309"/>
                  </a:lnTo>
                  <a:lnTo>
                    <a:pt x="940" y="1290"/>
                  </a:lnTo>
                  <a:lnTo>
                    <a:pt x="941" y="1274"/>
                  </a:lnTo>
                  <a:lnTo>
                    <a:pt x="940" y="1260"/>
                  </a:lnTo>
                  <a:lnTo>
                    <a:pt x="939" y="1247"/>
                  </a:lnTo>
                  <a:lnTo>
                    <a:pt x="938" y="1238"/>
                  </a:lnTo>
                  <a:lnTo>
                    <a:pt x="965" y="1225"/>
                  </a:lnTo>
                  <a:lnTo>
                    <a:pt x="993" y="1209"/>
                  </a:lnTo>
                  <a:lnTo>
                    <a:pt x="1000" y="1217"/>
                  </a:lnTo>
                  <a:lnTo>
                    <a:pt x="1009" y="1226"/>
                  </a:lnTo>
                  <a:lnTo>
                    <a:pt x="1020" y="1234"/>
                  </a:lnTo>
                  <a:lnTo>
                    <a:pt x="1031" y="1242"/>
                  </a:lnTo>
                  <a:lnTo>
                    <a:pt x="1044" y="1251"/>
                  </a:lnTo>
                  <a:lnTo>
                    <a:pt x="1059" y="1259"/>
                  </a:lnTo>
                  <a:lnTo>
                    <a:pt x="1076" y="1266"/>
                  </a:lnTo>
                  <a:lnTo>
                    <a:pt x="1094" y="1272"/>
                  </a:lnTo>
                  <a:lnTo>
                    <a:pt x="1152" y="1234"/>
                  </a:lnTo>
                  <a:lnTo>
                    <a:pt x="1153" y="1222"/>
                  </a:lnTo>
                  <a:lnTo>
                    <a:pt x="1154" y="1210"/>
                  </a:lnTo>
                  <a:lnTo>
                    <a:pt x="1153" y="1188"/>
                  </a:lnTo>
                  <a:lnTo>
                    <a:pt x="1150" y="1168"/>
                  </a:lnTo>
                  <a:lnTo>
                    <a:pt x="1146" y="1151"/>
                  </a:lnTo>
                  <a:lnTo>
                    <a:pt x="1141" y="1136"/>
                  </a:lnTo>
                  <a:lnTo>
                    <a:pt x="1135" y="1122"/>
                  </a:lnTo>
                  <a:lnTo>
                    <a:pt x="1130" y="1111"/>
                  </a:lnTo>
                  <a:lnTo>
                    <a:pt x="1125" y="1103"/>
                  </a:lnTo>
                  <a:lnTo>
                    <a:pt x="1143" y="1082"/>
                  </a:lnTo>
                  <a:lnTo>
                    <a:pt x="1160" y="1062"/>
                  </a:lnTo>
                  <a:lnTo>
                    <a:pt x="1169" y="1066"/>
                  </a:lnTo>
                  <a:lnTo>
                    <a:pt x="1181" y="1070"/>
                  </a:lnTo>
                  <a:lnTo>
                    <a:pt x="1194" y="1074"/>
                  </a:lnTo>
                  <a:lnTo>
                    <a:pt x="1209" y="1078"/>
                  </a:lnTo>
                  <a:lnTo>
                    <a:pt x="1227" y="1080"/>
                  </a:lnTo>
                  <a:lnTo>
                    <a:pt x="1245" y="1081"/>
                  </a:lnTo>
                  <a:lnTo>
                    <a:pt x="1266" y="1081"/>
                  </a:lnTo>
                  <a:lnTo>
                    <a:pt x="1287" y="1078"/>
                  </a:lnTo>
                  <a:lnTo>
                    <a:pt x="1288" y="1078"/>
                  </a:lnTo>
                  <a:lnTo>
                    <a:pt x="1323" y="1019"/>
                  </a:lnTo>
                  <a:lnTo>
                    <a:pt x="1323" y="1018"/>
                  </a:lnTo>
                  <a:lnTo>
                    <a:pt x="1319" y="1007"/>
                  </a:lnTo>
                  <a:lnTo>
                    <a:pt x="1314" y="997"/>
                  </a:lnTo>
                  <a:lnTo>
                    <a:pt x="1305" y="978"/>
                  </a:lnTo>
                  <a:lnTo>
                    <a:pt x="1293" y="962"/>
                  </a:lnTo>
                  <a:lnTo>
                    <a:pt x="1282" y="948"/>
                  </a:lnTo>
                  <a:lnTo>
                    <a:pt x="1271" y="937"/>
                  </a:lnTo>
                  <a:lnTo>
                    <a:pt x="1260" y="928"/>
                  </a:lnTo>
                  <a:lnTo>
                    <a:pt x="1251" y="919"/>
                  </a:lnTo>
                  <a:lnTo>
                    <a:pt x="1243" y="914"/>
                  </a:lnTo>
                  <a:lnTo>
                    <a:pt x="1254" y="882"/>
                  </a:lnTo>
                  <a:lnTo>
                    <a:pt x="1264" y="851"/>
                  </a:lnTo>
                  <a:lnTo>
                    <a:pt x="1272" y="850"/>
                  </a:lnTo>
                  <a:lnTo>
                    <a:pt x="1283" y="849"/>
                  </a:lnTo>
                  <a:lnTo>
                    <a:pt x="1297" y="847"/>
                  </a:lnTo>
                  <a:lnTo>
                    <a:pt x="1314" y="842"/>
                  </a:lnTo>
                  <a:lnTo>
                    <a:pt x="1332" y="836"/>
                  </a:lnTo>
                  <a:lnTo>
                    <a:pt x="1352" y="827"/>
                  </a:lnTo>
                  <a:lnTo>
                    <a:pt x="1361" y="822"/>
                  </a:lnTo>
                  <a:lnTo>
                    <a:pt x="1371" y="816"/>
                  </a:lnTo>
                  <a:lnTo>
                    <a:pt x="1381" y="808"/>
                  </a:lnTo>
                  <a:lnTo>
                    <a:pt x="1392" y="799"/>
                  </a:lnTo>
                  <a:lnTo>
                    <a:pt x="1392" y="73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 lang="en-US">
                <a:ea typeface="ＭＳ Ｐゴシック" pitchFamily="31" charset="-128"/>
              </a:endParaRPr>
            </a:p>
          </p:txBody>
        </p:sp>
        <p:sp>
          <p:nvSpPr>
            <p:cNvPr id="33" name="Freeform 51"/>
            <p:cNvSpPr>
              <a:spLocks/>
            </p:cNvSpPr>
            <p:nvPr/>
          </p:nvSpPr>
          <p:spPr bwMode="auto">
            <a:xfrm>
              <a:off x="4662" y="3513"/>
              <a:ext cx="329" cy="308"/>
            </a:xfrm>
            <a:custGeom>
              <a:avLst/>
              <a:gdLst>
                <a:gd name="T0" fmla="*/ 620 w 621"/>
                <a:gd name="T1" fmla="*/ 326 h 621"/>
                <a:gd name="T2" fmla="*/ 615 w 621"/>
                <a:gd name="T3" fmla="*/ 373 h 621"/>
                <a:gd name="T4" fmla="*/ 602 w 621"/>
                <a:gd name="T5" fmla="*/ 417 h 621"/>
                <a:gd name="T6" fmla="*/ 583 w 621"/>
                <a:gd name="T7" fmla="*/ 458 h 621"/>
                <a:gd name="T8" fmla="*/ 560 w 621"/>
                <a:gd name="T9" fmla="*/ 496 h 621"/>
                <a:gd name="T10" fmla="*/ 530 w 621"/>
                <a:gd name="T11" fmla="*/ 530 h 621"/>
                <a:gd name="T12" fmla="*/ 496 w 621"/>
                <a:gd name="T13" fmla="*/ 560 h 621"/>
                <a:gd name="T14" fmla="*/ 458 w 621"/>
                <a:gd name="T15" fmla="*/ 583 h 621"/>
                <a:gd name="T16" fmla="*/ 417 w 621"/>
                <a:gd name="T17" fmla="*/ 602 h 621"/>
                <a:gd name="T18" fmla="*/ 373 w 621"/>
                <a:gd name="T19" fmla="*/ 615 h 621"/>
                <a:gd name="T20" fmla="*/ 326 w 621"/>
                <a:gd name="T21" fmla="*/ 620 h 621"/>
                <a:gd name="T22" fmla="*/ 294 w 621"/>
                <a:gd name="T23" fmla="*/ 620 h 621"/>
                <a:gd name="T24" fmla="*/ 248 w 621"/>
                <a:gd name="T25" fmla="*/ 615 h 621"/>
                <a:gd name="T26" fmla="*/ 203 w 621"/>
                <a:gd name="T27" fmla="*/ 602 h 621"/>
                <a:gd name="T28" fmla="*/ 162 w 621"/>
                <a:gd name="T29" fmla="*/ 583 h 621"/>
                <a:gd name="T30" fmla="*/ 124 w 621"/>
                <a:gd name="T31" fmla="*/ 560 h 621"/>
                <a:gd name="T32" fmla="*/ 90 w 621"/>
                <a:gd name="T33" fmla="*/ 530 h 621"/>
                <a:gd name="T34" fmla="*/ 61 w 621"/>
                <a:gd name="T35" fmla="*/ 496 h 621"/>
                <a:gd name="T36" fmla="*/ 37 w 621"/>
                <a:gd name="T37" fmla="*/ 458 h 621"/>
                <a:gd name="T38" fmla="*/ 18 w 621"/>
                <a:gd name="T39" fmla="*/ 417 h 621"/>
                <a:gd name="T40" fmla="*/ 6 w 621"/>
                <a:gd name="T41" fmla="*/ 373 h 621"/>
                <a:gd name="T42" fmla="*/ 0 w 621"/>
                <a:gd name="T43" fmla="*/ 326 h 621"/>
                <a:gd name="T44" fmla="*/ 0 w 621"/>
                <a:gd name="T45" fmla="*/ 294 h 621"/>
                <a:gd name="T46" fmla="*/ 6 w 621"/>
                <a:gd name="T47" fmla="*/ 248 h 621"/>
                <a:gd name="T48" fmla="*/ 18 w 621"/>
                <a:gd name="T49" fmla="*/ 204 h 621"/>
                <a:gd name="T50" fmla="*/ 37 w 621"/>
                <a:gd name="T51" fmla="*/ 162 h 621"/>
                <a:gd name="T52" fmla="*/ 61 w 621"/>
                <a:gd name="T53" fmla="*/ 124 h 621"/>
                <a:gd name="T54" fmla="*/ 90 w 621"/>
                <a:gd name="T55" fmla="*/ 90 h 621"/>
                <a:gd name="T56" fmla="*/ 124 w 621"/>
                <a:gd name="T57" fmla="*/ 62 h 621"/>
                <a:gd name="T58" fmla="*/ 162 w 621"/>
                <a:gd name="T59" fmla="*/ 37 h 621"/>
                <a:gd name="T60" fmla="*/ 203 w 621"/>
                <a:gd name="T61" fmla="*/ 19 h 621"/>
                <a:gd name="T62" fmla="*/ 248 w 621"/>
                <a:gd name="T63" fmla="*/ 6 h 621"/>
                <a:gd name="T64" fmla="*/ 294 w 621"/>
                <a:gd name="T65" fmla="*/ 0 h 621"/>
                <a:gd name="T66" fmla="*/ 326 w 621"/>
                <a:gd name="T67" fmla="*/ 0 h 621"/>
                <a:gd name="T68" fmla="*/ 373 w 621"/>
                <a:gd name="T69" fmla="*/ 6 h 621"/>
                <a:gd name="T70" fmla="*/ 417 w 621"/>
                <a:gd name="T71" fmla="*/ 19 h 621"/>
                <a:gd name="T72" fmla="*/ 458 w 621"/>
                <a:gd name="T73" fmla="*/ 37 h 621"/>
                <a:gd name="T74" fmla="*/ 496 w 621"/>
                <a:gd name="T75" fmla="*/ 62 h 621"/>
                <a:gd name="T76" fmla="*/ 530 w 621"/>
                <a:gd name="T77" fmla="*/ 90 h 621"/>
                <a:gd name="T78" fmla="*/ 560 w 621"/>
                <a:gd name="T79" fmla="*/ 124 h 621"/>
                <a:gd name="T80" fmla="*/ 583 w 621"/>
                <a:gd name="T81" fmla="*/ 162 h 621"/>
                <a:gd name="T82" fmla="*/ 602 w 621"/>
                <a:gd name="T83" fmla="*/ 204 h 621"/>
                <a:gd name="T84" fmla="*/ 615 w 621"/>
                <a:gd name="T85" fmla="*/ 248 h 621"/>
                <a:gd name="T86" fmla="*/ 620 w 621"/>
                <a:gd name="T87" fmla="*/ 294 h 62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21"/>
                <a:gd name="T133" fmla="*/ 0 h 621"/>
                <a:gd name="T134" fmla="*/ 621 w 621"/>
                <a:gd name="T135" fmla="*/ 621 h 62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21" h="621">
                  <a:moveTo>
                    <a:pt x="621" y="311"/>
                  </a:moveTo>
                  <a:lnTo>
                    <a:pt x="621" y="311"/>
                  </a:lnTo>
                  <a:lnTo>
                    <a:pt x="620" y="326"/>
                  </a:lnTo>
                  <a:lnTo>
                    <a:pt x="619" y="343"/>
                  </a:lnTo>
                  <a:lnTo>
                    <a:pt x="617" y="358"/>
                  </a:lnTo>
                  <a:lnTo>
                    <a:pt x="615" y="373"/>
                  </a:lnTo>
                  <a:lnTo>
                    <a:pt x="611" y="388"/>
                  </a:lnTo>
                  <a:lnTo>
                    <a:pt x="607" y="403"/>
                  </a:lnTo>
                  <a:lnTo>
                    <a:pt x="602" y="417"/>
                  </a:lnTo>
                  <a:lnTo>
                    <a:pt x="596" y="432"/>
                  </a:lnTo>
                  <a:lnTo>
                    <a:pt x="590" y="445"/>
                  </a:lnTo>
                  <a:lnTo>
                    <a:pt x="583" y="458"/>
                  </a:lnTo>
                  <a:lnTo>
                    <a:pt x="576" y="472"/>
                  </a:lnTo>
                  <a:lnTo>
                    <a:pt x="568" y="484"/>
                  </a:lnTo>
                  <a:lnTo>
                    <a:pt x="560" y="496"/>
                  </a:lnTo>
                  <a:lnTo>
                    <a:pt x="550" y="509"/>
                  </a:lnTo>
                  <a:lnTo>
                    <a:pt x="540" y="520"/>
                  </a:lnTo>
                  <a:lnTo>
                    <a:pt x="530" y="530"/>
                  </a:lnTo>
                  <a:lnTo>
                    <a:pt x="518" y="540"/>
                  </a:lnTo>
                  <a:lnTo>
                    <a:pt x="507" y="551"/>
                  </a:lnTo>
                  <a:lnTo>
                    <a:pt x="496" y="560"/>
                  </a:lnTo>
                  <a:lnTo>
                    <a:pt x="484" y="568"/>
                  </a:lnTo>
                  <a:lnTo>
                    <a:pt x="471" y="576"/>
                  </a:lnTo>
                  <a:lnTo>
                    <a:pt x="458" y="583"/>
                  </a:lnTo>
                  <a:lnTo>
                    <a:pt x="445" y="591"/>
                  </a:lnTo>
                  <a:lnTo>
                    <a:pt x="431" y="597"/>
                  </a:lnTo>
                  <a:lnTo>
                    <a:pt x="417" y="602"/>
                  </a:lnTo>
                  <a:lnTo>
                    <a:pt x="403" y="607"/>
                  </a:lnTo>
                  <a:lnTo>
                    <a:pt x="387" y="611"/>
                  </a:lnTo>
                  <a:lnTo>
                    <a:pt x="373" y="615"/>
                  </a:lnTo>
                  <a:lnTo>
                    <a:pt x="358" y="617"/>
                  </a:lnTo>
                  <a:lnTo>
                    <a:pt x="342" y="619"/>
                  </a:lnTo>
                  <a:lnTo>
                    <a:pt x="326" y="620"/>
                  </a:lnTo>
                  <a:lnTo>
                    <a:pt x="310" y="621"/>
                  </a:lnTo>
                  <a:lnTo>
                    <a:pt x="294" y="620"/>
                  </a:lnTo>
                  <a:lnTo>
                    <a:pt x="279" y="619"/>
                  </a:lnTo>
                  <a:lnTo>
                    <a:pt x="262" y="617"/>
                  </a:lnTo>
                  <a:lnTo>
                    <a:pt x="248" y="615"/>
                  </a:lnTo>
                  <a:lnTo>
                    <a:pt x="233" y="611"/>
                  </a:lnTo>
                  <a:lnTo>
                    <a:pt x="218" y="607"/>
                  </a:lnTo>
                  <a:lnTo>
                    <a:pt x="203" y="602"/>
                  </a:lnTo>
                  <a:lnTo>
                    <a:pt x="189" y="597"/>
                  </a:lnTo>
                  <a:lnTo>
                    <a:pt x="175" y="591"/>
                  </a:lnTo>
                  <a:lnTo>
                    <a:pt x="162" y="583"/>
                  </a:lnTo>
                  <a:lnTo>
                    <a:pt x="148" y="576"/>
                  </a:lnTo>
                  <a:lnTo>
                    <a:pt x="136" y="568"/>
                  </a:lnTo>
                  <a:lnTo>
                    <a:pt x="124" y="560"/>
                  </a:lnTo>
                  <a:lnTo>
                    <a:pt x="113" y="551"/>
                  </a:lnTo>
                  <a:lnTo>
                    <a:pt x="101" y="540"/>
                  </a:lnTo>
                  <a:lnTo>
                    <a:pt x="90" y="530"/>
                  </a:lnTo>
                  <a:lnTo>
                    <a:pt x="80" y="520"/>
                  </a:lnTo>
                  <a:lnTo>
                    <a:pt x="71" y="509"/>
                  </a:lnTo>
                  <a:lnTo>
                    <a:pt x="61" y="496"/>
                  </a:lnTo>
                  <a:lnTo>
                    <a:pt x="52" y="484"/>
                  </a:lnTo>
                  <a:lnTo>
                    <a:pt x="44" y="472"/>
                  </a:lnTo>
                  <a:lnTo>
                    <a:pt x="37" y="458"/>
                  </a:lnTo>
                  <a:lnTo>
                    <a:pt x="30" y="445"/>
                  </a:lnTo>
                  <a:lnTo>
                    <a:pt x="23" y="432"/>
                  </a:lnTo>
                  <a:lnTo>
                    <a:pt x="18" y="417"/>
                  </a:lnTo>
                  <a:lnTo>
                    <a:pt x="13" y="403"/>
                  </a:lnTo>
                  <a:lnTo>
                    <a:pt x="9" y="388"/>
                  </a:lnTo>
                  <a:lnTo>
                    <a:pt x="6" y="373"/>
                  </a:lnTo>
                  <a:lnTo>
                    <a:pt x="3" y="358"/>
                  </a:lnTo>
                  <a:lnTo>
                    <a:pt x="1" y="343"/>
                  </a:lnTo>
                  <a:lnTo>
                    <a:pt x="0" y="326"/>
                  </a:lnTo>
                  <a:lnTo>
                    <a:pt x="0" y="311"/>
                  </a:lnTo>
                  <a:lnTo>
                    <a:pt x="0" y="294"/>
                  </a:lnTo>
                  <a:lnTo>
                    <a:pt x="1" y="279"/>
                  </a:lnTo>
                  <a:lnTo>
                    <a:pt x="3" y="264"/>
                  </a:lnTo>
                  <a:lnTo>
                    <a:pt x="6" y="248"/>
                  </a:lnTo>
                  <a:lnTo>
                    <a:pt x="9" y="233"/>
                  </a:lnTo>
                  <a:lnTo>
                    <a:pt x="13" y="219"/>
                  </a:lnTo>
                  <a:lnTo>
                    <a:pt x="18" y="204"/>
                  </a:lnTo>
                  <a:lnTo>
                    <a:pt x="23" y="190"/>
                  </a:lnTo>
                  <a:lnTo>
                    <a:pt x="30" y="175"/>
                  </a:lnTo>
                  <a:lnTo>
                    <a:pt x="37" y="162"/>
                  </a:lnTo>
                  <a:lnTo>
                    <a:pt x="44" y="150"/>
                  </a:lnTo>
                  <a:lnTo>
                    <a:pt x="52" y="137"/>
                  </a:lnTo>
                  <a:lnTo>
                    <a:pt x="61" y="124"/>
                  </a:lnTo>
                  <a:lnTo>
                    <a:pt x="71" y="113"/>
                  </a:lnTo>
                  <a:lnTo>
                    <a:pt x="80" y="102"/>
                  </a:lnTo>
                  <a:lnTo>
                    <a:pt x="90" y="90"/>
                  </a:lnTo>
                  <a:lnTo>
                    <a:pt x="101" y="80"/>
                  </a:lnTo>
                  <a:lnTo>
                    <a:pt x="113" y="71"/>
                  </a:lnTo>
                  <a:lnTo>
                    <a:pt x="124" y="62"/>
                  </a:lnTo>
                  <a:lnTo>
                    <a:pt x="136" y="53"/>
                  </a:lnTo>
                  <a:lnTo>
                    <a:pt x="148" y="45"/>
                  </a:lnTo>
                  <a:lnTo>
                    <a:pt x="162" y="37"/>
                  </a:lnTo>
                  <a:lnTo>
                    <a:pt x="175" y="31"/>
                  </a:lnTo>
                  <a:lnTo>
                    <a:pt x="189" y="24"/>
                  </a:lnTo>
                  <a:lnTo>
                    <a:pt x="203" y="19"/>
                  </a:lnTo>
                  <a:lnTo>
                    <a:pt x="218" y="14"/>
                  </a:lnTo>
                  <a:lnTo>
                    <a:pt x="233" y="9"/>
                  </a:lnTo>
                  <a:lnTo>
                    <a:pt x="248" y="6"/>
                  </a:lnTo>
                  <a:lnTo>
                    <a:pt x="262" y="3"/>
                  </a:lnTo>
                  <a:lnTo>
                    <a:pt x="279" y="1"/>
                  </a:lnTo>
                  <a:lnTo>
                    <a:pt x="294" y="0"/>
                  </a:lnTo>
                  <a:lnTo>
                    <a:pt x="310" y="0"/>
                  </a:lnTo>
                  <a:lnTo>
                    <a:pt x="326" y="0"/>
                  </a:lnTo>
                  <a:lnTo>
                    <a:pt x="342" y="1"/>
                  </a:lnTo>
                  <a:lnTo>
                    <a:pt x="358" y="3"/>
                  </a:lnTo>
                  <a:lnTo>
                    <a:pt x="373" y="6"/>
                  </a:lnTo>
                  <a:lnTo>
                    <a:pt x="387" y="9"/>
                  </a:lnTo>
                  <a:lnTo>
                    <a:pt x="403" y="14"/>
                  </a:lnTo>
                  <a:lnTo>
                    <a:pt x="417" y="19"/>
                  </a:lnTo>
                  <a:lnTo>
                    <a:pt x="431" y="24"/>
                  </a:lnTo>
                  <a:lnTo>
                    <a:pt x="445" y="31"/>
                  </a:lnTo>
                  <a:lnTo>
                    <a:pt x="458" y="37"/>
                  </a:lnTo>
                  <a:lnTo>
                    <a:pt x="471" y="45"/>
                  </a:lnTo>
                  <a:lnTo>
                    <a:pt x="484" y="53"/>
                  </a:lnTo>
                  <a:lnTo>
                    <a:pt x="496" y="62"/>
                  </a:lnTo>
                  <a:lnTo>
                    <a:pt x="507" y="71"/>
                  </a:lnTo>
                  <a:lnTo>
                    <a:pt x="518" y="80"/>
                  </a:lnTo>
                  <a:lnTo>
                    <a:pt x="530" y="90"/>
                  </a:lnTo>
                  <a:lnTo>
                    <a:pt x="540" y="102"/>
                  </a:lnTo>
                  <a:lnTo>
                    <a:pt x="550" y="113"/>
                  </a:lnTo>
                  <a:lnTo>
                    <a:pt x="560" y="124"/>
                  </a:lnTo>
                  <a:lnTo>
                    <a:pt x="568" y="137"/>
                  </a:lnTo>
                  <a:lnTo>
                    <a:pt x="576" y="150"/>
                  </a:lnTo>
                  <a:lnTo>
                    <a:pt x="583" y="162"/>
                  </a:lnTo>
                  <a:lnTo>
                    <a:pt x="590" y="175"/>
                  </a:lnTo>
                  <a:lnTo>
                    <a:pt x="596" y="190"/>
                  </a:lnTo>
                  <a:lnTo>
                    <a:pt x="602" y="204"/>
                  </a:lnTo>
                  <a:lnTo>
                    <a:pt x="607" y="219"/>
                  </a:lnTo>
                  <a:lnTo>
                    <a:pt x="611" y="233"/>
                  </a:lnTo>
                  <a:lnTo>
                    <a:pt x="615" y="248"/>
                  </a:lnTo>
                  <a:lnTo>
                    <a:pt x="617" y="264"/>
                  </a:lnTo>
                  <a:lnTo>
                    <a:pt x="619" y="279"/>
                  </a:lnTo>
                  <a:lnTo>
                    <a:pt x="620" y="294"/>
                  </a:lnTo>
                  <a:lnTo>
                    <a:pt x="621" y="311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 lang="en-US">
                <a:ea typeface="ＭＳ Ｐゴシック" pitchFamily="31" charset="-128"/>
              </a:endParaRPr>
            </a:p>
          </p:txBody>
        </p:sp>
      </p:grpSp>
      <p:grpSp>
        <p:nvGrpSpPr>
          <p:cNvPr id="4" name="Group 13"/>
          <p:cNvGrpSpPr>
            <a:grpSpLocks/>
          </p:cNvGrpSpPr>
          <p:nvPr/>
        </p:nvGrpSpPr>
        <p:grpSpPr bwMode="auto">
          <a:xfrm rot="1218681">
            <a:off x="2857663" y="2320176"/>
            <a:ext cx="1721595" cy="1647495"/>
            <a:chOff x="4426" y="3301"/>
            <a:chExt cx="696" cy="699"/>
          </a:xfrm>
        </p:grpSpPr>
        <p:sp>
          <p:nvSpPr>
            <p:cNvPr id="35" name="Freeform 50"/>
            <p:cNvSpPr>
              <a:spLocks noEditPoints="1"/>
            </p:cNvSpPr>
            <p:nvPr/>
          </p:nvSpPr>
          <p:spPr bwMode="auto">
            <a:xfrm>
              <a:off x="4426" y="3301"/>
              <a:ext cx="696" cy="699"/>
            </a:xfrm>
            <a:custGeom>
              <a:avLst/>
              <a:gdLst>
                <a:gd name="T0" fmla="*/ 858 w 1392"/>
                <a:gd name="T1" fmla="*/ 805 h 1399"/>
                <a:gd name="T2" fmla="*/ 726 w 1392"/>
                <a:gd name="T3" fmla="*/ 893 h 1399"/>
                <a:gd name="T4" fmla="*/ 584 w 1392"/>
                <a:gd name="T5" fmla="*/ 871 h 1399"/>
                <a:gd name="T6" fmla="*/ 482 w 1392"/>
                <a:gd name="T7" fmla="*/ 749 h 1399"/>
                <a:gd name="T8" fmla="*/ 490 w 1392"/>
                <a:gd name="T9" fmla="*/ 605 h 1399"/>
                <a:gd name="T10" fmla="*/ 601 w 1392"/>
                <a:gd name="T11" fmla="*/ 493 h 1399"/>
                <a:gd name="T12" fmla="*/ 746 w 1392"/>
                <a:gd name="T13" fmla="*/ 486 h 1399"/>
                <a:gd name="T14" fmla="*/ 868 w 1392"/>
                <a:gd name="T15" fmla="*/ 586 h 1399"/>
                <a:gd name="T16" fmla="*/ 1392 w 1392"/>
                <a:gd name="T17" fmla="*/ 730 h 1399"/>
                <a:gd name="T18" fmla="*/ 1281 w 1392"/>
                <a:gd name="T19" fmla="*/ 682 h 1399"/>
                <a:gd name="T20" fmla="*/ 1323 w 1392"/>
                <a:gd name="T21" fmla="*/ 602 h 1399"/>
                <a:gd name="T22" fmla="*/ 1384 w 1392"/>
                <a:gd name="T23" fmla="*/ 542 h 1399"/>
                <a:gd name="T24" fmla="*/ 1283 w 1392"/>
                <a:gd name="T25" fmla="*/ 456 h 1399"/>
                <a:gd name="T26" fmla="*/ 1196 w 1392"/>
                <a:gd name="T27" fmla="*/ 400 h 1399"/>
                <a:gd name="T28" fmla="*/ 1251 w 1392"/>
                <a:gd name="T29" fmla="*/ 315 h 1399"/>
                <a:gd name="T30" fmla="*/ 1216 w 1392"/>
                <a:gd name="T31" fmla="*/ 239 h 1399"/>
                <a:gd name="T32" fmla="*/ 1096 w 1392"/>
                <a:gd name="T33" fmla="*/ 264 h 1399"/>
                <a:gd name="T34" fmla="*/ 1060 w 1392"/>
                <a:gd name="T35" fmla="*/ 208 h 1399"/>
                <a:gd name="T36" fmla="*/ 1064 w 1392"/>
                <a:gd name="T37" fmla="*/ 95 h 1399"/>
                <a:gd name="T38" fmla="*/ 959 w 1392"/>
                <a:gd name="T39" fmla="*/ 87 h 1399"/>
                <a:gd name="T40" fmla="*/ 844 w 1392"/>
                <a:gd name="T41" fmla="*/ 135 h 1399"/>
                <a:gd name="T42" fmla="*/ 820 w 1392"/>
                <a:gd name="T43" fmla="*/ 38 h 1399"/>
                <a:gd name="T44" fmla="*/ 724 w 1392"/>
                <a:gd name="T45" fmla="*/ 0 h 1399"/>
                <a:gd name="T46" fmla="*/ 675 w 1392"/>
                <a:gd name="T47" fmla="*/ 109 h 1399"/>
                <a:gd name="T48" fmla="*/ 608 w 1392"/>
                <a:gd name="T49" fmla="*/ 91 h 1399"/>
                <a:gd name="T50" fmla="*/ 537 w 1392"/>
                <a:gd name="T51" fmla="*/ 16 h 1399"/>
                <a:gd name="T52" fmla="*/ 452 w 1392"/>
                <a:gd name="T53" fmla="*/ 133 h 1399"/>
                <a:gd name="T54" fmla="*/ 397 w 1392"/>
                <a:gd name="T55" fmla="*/ 190 h 1399"/>
                <a:gd name="T56" fmla="*/ 298 w 1392"/>
                <a:gd name="T57" fmla="*/ 132 h 1399"/>
                <a:gd name="T58" fmla="*/ 231 w 1392"/>
                <a:gd name="T59" fmla="*/ 186 h 1399"/>
                <a:gd name="T60" fmla="*/ 270 w 1392"/>
                <a:gd name="T61" fmla="*/ 301 h 1399"/>
                <a:gd name="T62" fmla="*/ 191 w 1392"/>
                <a:gd name="T63" fmla="*/ 322 h 1399"/>
                <a:gd name="T64" fmla="*/ 97 w 1392"/>
                <a:gd name="T65" fmla="*/ 322 h 1399"/>
                <a:gd name="T66" fmla="*/ 98 w 1392"/>
                <a:gd name="T67" fmla="*/ 441 h 1399"/>
                <a:gd name="T68" fmla="*/ 133 w 1392"/>
                <a:gd name="T69" fmla="*/ 539 h 1399"/>
                <a:gd name="T70" fmla="*/ 35 w 1392"/>
                <a:gd name="T71" fmla="*/ 564 h 1399"/>
                <a:gd name="T72" fmla="*/ 0 w 1392"/>
                <a:gd name="T73" fmla="*/ 654 h 1399"/>
                <a:gd name="T74" fmla="*/ 99 w 1392"/>
                <a:gd name="T75" fmla="*/ 705 h 1399"/>
                <a:gd name="T76" fmla="*/ 81 w 1392"/>
                <a:gd name="T77" fmla="*/ 790 h 1399"/>
                <a:gd name="T78" fmla="*/ 29 w 1392"/>
                <a:gd name="T79" fmla="*/ 917 h 1399"/>
                <a:gd name="T80" fmla="*/ 148 w 1392"/>
                <a:gd name="T81" fmla="*/ 940 h 1399"/>
                <a:gd name="T82" fmla="*/ 162 w 1392"/>
                <a:gd name="T83" fmla="*/ 1022 h 1399"/>
                <a:gd name="T84" fmla="*/ 126 w 1392"/>
                <a:gd name="T85" fmla="*/ 1106 h 1399"/>
                <a:gd name="T86" fmla="*/ 258 w 1392"/>
                <a:gd name="T87" fmla="*/ 1145 h 1399"/>
                <a:gd name="T88" fmla="*/ 328 w 1392"/>
                <a:gd name="T89" fmla="*/ 1172 h 1399"/>
                <a:gd name="T90" fmla="*/ 312 w 1392"/>
                <a:gd name="T91" fmla="*/ 1297 h 1399"/>
                <a:gd name="T92" fmla="*/ 431 w 1392"/>
                <a:gd name="T93" fmla="*/ 1301 h 1399"/>
                <a:gd name="T94" fmla="*/ 542 w 1392"/>
                <a:gd name="T95" fmla="*/ 1270 h 1399"/>
                <a:gd name="T96" fmla="*/ 573 w 1392"/>
                <a:gd name="T97" fmla="*/ 1375 h 1399"/>
                <a:gd name="T98" fmla="*/ 656 w 1392"/>
                <a:gd name="T99" fmla="*/ 1398 h 1399"/>
                <a:gd name="T100" fmla="*/ 707 w 1392"/>
                <a:gd name="T101" fmla="*/ 1301 h 1399"/>
                <a:gd name="T102" fmla="*/ 789 w 1392"/>
                <a:gd name="T103" fmla="*/ 1318 h 1399"/>
                <a:gd name="T104" fmla="*/ 846 w 1392"/>
                <a:gd name="T105" fmla="*/ 1386 h 1399"/>
                <a:gd name="T106" fmla="*/ 937 w 1392"/>
                <a:gd name="T107" fmla="*/ 1309 h 1399"/>
                <a:gd name="T108" fmla="*/ 993 w 1392"/>
                <a:gd name="T109" fmla="*/ 1209 h 1399"/>
                <a:gd name="T110" fmla="*/ 1076 w 1392"/>
                <a:gd name="T111" fmla="*/ 1266 h 1399"/>
                <a:gd name="T112" fmla="*/ 1153 w 1392"/>
                <a:gd name="T113" fmla="*/ 1222 h 1399"/>
                <a:gd name="T114" fmla="*/ 1125 w 1392"/>
                <a:gd name="T115" fmla="*/ 1103 h 1399"/>
                <a:gd name="T116" fmla="*/ 1209 w 1392"/>
                <a:gd name="T117" fmla="*/ 1078 h 1399"/>
                <a:gd name="T118" fmla="*/ 1323 w 1392"/>
                <a:gd name="T119" fmla="*/ 1018 h 1399"/>
                <a:gd name="T120" fmla="*/ 1251 w 1392"/>
                <a:gd name="T121" fmla="*/ 919 h 1399"/>
                <a:gd name="T122" fmla="*/ 1297 w 1392"/>
                <a:gd name="T123" fmla="*/ 847 h 1399"/>
                <a:gd name="T124" fmla="*/ 1392 w 1392"/>
                <a:gd name="T125" fmla="*/ 799 h 139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92"/>
                <a:gd name="T190" fmla="*/ 0 h 1399"/>
                <a:gd name="T191" fmla="*/ 1392 w 1392"/>
                <a:gd name="T192" fmla="*/ 1399 h 139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92" h="1399">
                  <a:moveTo>
                    <a:pt x="894" y="687"/>
                  </a:moveTo>
                  <a:lnTo>
                    <a:pt x="894" y="687"/>
                  </a:lnTo>
                  <a:lnTo>
                    <a:pt x="892" y="708"/>
                  </a:lnTo>
                  <a:lnTo>
                    <a:pt x="889" y="729"/>
                  </a:lnTo>
                  <a:lnTo>
                    <a:pt x="884" y="749"/>
                  </a:lnTo>
                  <a:lnTo>
                    <a:pt x="877" y="769"/>
                  </a:lnTo>
                  <a:lnTo>
                    <a:pt x="868" y="787"/>
                  </a:lnTo>
                  <a:lnTo>
                    <a:pt x="858" y="805"/>
                  </a:lnTo>
                  <a:lnTo>
                    <a:pt x="845" y="821"/>
                  </a:lnTo>
                  <a:lnTo>
                    <a:pt x="832" y="835"/>
                  </a:lnTo>
                  <a:lnTo>
                    <a:pt x="818" y="849"/>
                  </a:lnTo>
                  <a:lnTo>
                    <a:pt x="801" y="861"/>
                  </a:lnTo>
                  <a:lnTo>
                    <a:pt x="784" y="871"/>
                  </a:lnTo>
                  <a:lnTo>
                    <a:pt x="765" y="880"/>
                  </a:lnTo>
                  <a:lnTo>
                    <a:pt x="746" y="888"/>
                  </a:lnTo>
                  <a:lnTo>
                    <a:pt x="726" y="893"/>
                  </a:lnTo>
                  <a:lnTo>
                    <a:pt x="705" y="896"/>
                  </a:lnTo>
                  <a:lnTo>
                    <a:pt x="683" y="897"/>
                  </a:lnTo>
                  <a:lnTo>
                    <a:pt x="662" y="896"/>
                  </a:lnTo>
                  <a:lnTo>
                    <a:pt x="641" y="893"/>
                  </a:lnTo>
                  <a:lnTo>
                    <a:pt x="621" y="888"/>
                  </a:lnTo>
                  <a:lnTo>
                    <a:pt x="601" y="880"/>
                  </a:lnTo>
                  <a:lnTo>
                    <a:pt x="584" y="871"/>
                  </a:lnTo>
                  <a:lnTo>
                    <a:pt x="567" y="861"/>
                  </a:lnTo>
                  <a:lnTo>
                    <a:pt x="550" y="849"/>
                  </a:lnTo>
                  <a:lnTo>
                    <a:pt x="535" y="835"/>
                  </a:lnTo>
                  <a:lnTo>
                    <a:pt x="521" y="821"/>
                  </a:lnTo>
                  <a:lnTo>
                    <a:pt x="509" y="805"/>
                  </a:lnTo>
                  <a:lnTo>
                    <a:pt x="499" y="787"/>
                  </a:lnTo>
                  <a:lnTo>
                    <a:pt x="490" y="769"/>
                  </a:lnTo>
                  <a:lnTo>
                    <a:pt x="482" y="749"/>
                  </a:lnTo>
                  <a:lnTo>
                    <a:pt x="477" y="729"/>
                  </a:lnTo>
                  <a:lnTo>
                    <a:pt x="474" y="708"/>
                  </a:lnTo>
                  <a:lnTo>
                    <a:pt x="473" y="687"/>
                  </a:lnTo>
                  <a:lnTo>
                    <a:pt x="474" y="665"/>
                  </a:lnTo>
                  <a:lnTo>
                    <a:pt x="477" y="645"/>
                  </a:lnTo>
                  <a:lnTo>
                    <a:pt x="482" y="624"/>
                  </a:lnTo>
                  <a:lnTo>
                    <a:pt x="490" y="605"/>
                  </a:lnTo>
                  <a:lnTo>
                    <a:pt x="499" y="586"/>
                  </a:lnTo>
                  <a:lnTo>
                    <a:pt x="509" y="570"/>
                  </a:lnTo>
                  <a:lnTo>
                    <a:pt x="521" y="553"/>
                  </a:lnTo>
                  <a:lnTo>
                    <a:pt x="535" y="538"/>
                  </a:lnTo>
                  <a:lnTo>
                    <a:pt x="550" y="525"/>
                  </a:lnTo>
                  <a:lnTo>
                    <a:pt x="567" y="512"/>
                  </a:lnTo>
                  <a:lnTo>
                    <a:pt x="584" y="502"/>
                  </a:lnTo>
                  <a:lnTo>
                    <a:pt x="601" y="493"/>
                  </a:lnTo>
                  <a:lnTo>
                    <a:pt x="621" y="486"/>
                  </a:lnTo>
                  <a:lnTo>
                    <a:pt x="641" y="481"/>
                  </a:lnTo>
                  <a:lnTo>
                    <a:pt x="662" y="478"/>
                  </a:lnTo>
                  <a:lnTo>
                    <a:pt x="683" y="477"/>
                  </a:lnTo>
                  <a:lnTo>
                    <a:pt x="705" y="478"/>
                  </a:lnTo>
                  <a:lnTo>
                    <a:pt x="726" y="481"/>
                  </a:lnTo>
                  <a:lnTo>
                    <a:pt x="746" y="486"/>
                  </a:lnTo>
                  <a:lnTo>
                    <a:pt x="765" y="493"/>
                  </a:lnTo>
                  <a:lnTo>
                    <a:pt x="784" y="502"/>
                  </a:lnTo>
                  <a:lnTo>
                    <a:pt x="801" y="512"/>
                  </a:lnTo>
                  <a:lnTo>
                    <a:pt x="818" y="525"/>
                  </a:lnTo>
                  <a:lnTo>
                    <a:pt x="832" y="538"/>
                  </a:lnTo>
                  <a:lnTo>
                    <a:pt x="845" y="553"/>
                  </a:lnTo>
                  <a:lnTo>
                    <a:pt x="858" y="570"/>
                  </a:lnTo>
                  <a:lnTo>
                    <a:pt x="868" y="586"/>
                  </a:lnTo>
                  <a:lnTo>
                    <a:pt x="877" y="605"/>
                  </a:lnTo>
                  <a:lnTo>
                    <a:pt x="884" y="624"/>
                  </a:lnTo>
                  <a:lnTo>
                    <a:pt x="889" y="645"/>
                  </a:lnTo>
                  <a:lnTo>
                    <a:pt x="892" y="665"/>
                  </a:lnTo>
                  <a:lnTo>
                    <a:pt x="894" y="687"/>
                  </a:lnTo>
                  <a:close/>
                  <a:moveTo>
                    <a:pt x="1392" y="730"/>
                  </a:moveTo>
                  <a:lnTo>
                    <a:pt x="1392" y="730"/>
                  </a:lnTo>
                  <a:lnTo>
                    <a:pt x="1376" y="717"/>
                  </a:lnTo>
                  <a:lnTo>
                    <a:pt x="1361" y="708"/>
                  </a:lnTo>
                  <a:lnTo>
                    <a:pt x="1346" y="700"/>
                  </a:lnTo>
                  <a:lnTo>
                    <a:pt x="1330" y="693"/>
                  </a:lnTo>
                  <a:lnTo>
                    <a:pt x="1317" y="689"/>
                  </a:lnTo>
                  <a:lnTo>
                    <a:pt x="1304" y="686"/>
                  </a:lnTo>
                  <a:lnTo>
                    <a:pt x="1291" y="683"/>
                  </a:lnTo>
                  <a:lnTo>
                    <a:pt x="1281" y="682"/>
                  </a:lnTo>
                  <a:lnTo>
                    <a:pt x="1279" y="652"/>
                  </a:lnTo>
                  <a:lnTo>
                    <a:pt x="1276" y="623"/>
                  </a:lnTo>
                  <a:lnTo>
                    <a:pt x="1285" y="620"/>
                  </a:lnTo>
                  <a:lnTo>
                    <a:pt x="1295" y="616"/>
                  </a:lnTo>
                  <a:lnTo>
                    <a:pt x="1309" y="610"/>
                  </a:lnTo>
                  <a:lnTo>
                    <a:pt x="1323" y="602"/>
                  </a:lnTo>
                  <a:lnTo>
                    <a:pt x="1338" y="590"/>
                  </a:lnTo>
                  <a:lnTo>
                    <a:pt x="1354" y="577"/>
                  </a:lnTo>
                  <a:lnTo>
                    <a:pt x="1369" y="562"/>
                  </a:lnTo>
                  <a:lnTo>
                    <a:pt x="1376" y="551"/>
                  </a:lnTo>
                  <a:lnTo>
                    <a:pt x="1384" y="542"/>
                  </a:lnTo>
                  <a:lnTo>
                    <a:pt x="1384" y="541"/>
                  </a:lnTo>
                  <a:lnTo>
                    <a:pt x="1366" y="475"/>
                  </a:lnTo>
                  <a:lnTo>
                    <a:pt x="1352" y="469"/>
                  </a:lnTo>
                  <a:lnTo>
                    <a:pt x="1336" y="465"/>
                  </a:lnTo>
                  <a:lnTo>
                    <a:pt x="1317" y="461"/>
                  </a:lnTo>
                  <a:lnTo>
                    <a:pt x="1295" y="457"/>
                  </a:lnTo>
                  <a:lnTo>
                    <a:pt x="1283" y="456"/>
                  </a:lnTo>
                  <a:lnTo>
                    <a:pt x="1272" y="455"/>
                  </a:lnTo>
                  <a:lnTo>
                    <a:pt x="1260" y="455"/>
                  </a:lnTo>
                  <a:lnTo>
                    <a:pt x="1249" y="456"/>
                  </a:lnTo>
                  <a:lnTo>
                    <a:pt x="1239" y="457"/>
                  </a:lnTo>
                  <a:lnTo>
                    <a:pt x="1229" y="460"/>
                  </a:lnTo>
                  <a:lnTo>
                    <a:pt x="1213" y="429"/>
                  </a:lnTo>
                  <a:lnTo>
                    <a:pt x="1196" y="400"/>
                  </a:lnTo>
                  <a:lnTo>
                    <a:pt x="1203" y="393"/>
                  </a:lnTo>
                  <a:lnTo>
                    <a:pt x="1211" y="383"/>
                  </a:lnTo>
                  <a:lnTo>
                    <a:pt x="1221" y="373"/>
                  </a:lnTo>
                  <a:lnTo>
                    <a:pt x="1229" y="361"/>
                  </a:lnTo>
                  <a:lnTo>
                    <a:pt x="1237" y="347"/>
                  </a:lnTo>
                  <a:lnTo>
                    <a:pt x="1244" y="332"/>
                  </a:lnTo>
                  <a:lnTo>
                    <a:pt x="1251" y="315"/>
                  </a:lnTo>
                  <a:lnTo>
                    <a:pt x="1256" y="295"/>
                  </a:lnTo>
                  <a:lnTo>
                    <a:pt x="1216" y="239"/>
                  </a:lnTo>
                  <a:lnTo>
                    <a:pt x="1205" y="238"/>
                  </a:lnTo>
                  <a:lnTo>
                    <a:pt x="1193" y="238"/>
                  </a:lnTo>
                  <a:lnTo>
                    <a:pt x="1171" y="239"/>
                  </a:lnTo>
                  <a:lnTo>
                    <a:pt x="1152" y="243"/>
                  </a:lnTo>
                  <a:lnTo>
                    <a:pt x="1134" y="247"/>
                  </a:lnTo>
                  <a:lnTo>
                    <a:pt x="1120" y="252"/>
                  </a:lnTo>
                  <a:lnTo>
                    <a:pt x="1107" y="258"/>
                  </a:lnTo>
                  <a:lnTo>
                    <a:pt x="1096" y="264"/>
                  </a:lnTo>
                  <a:lnTo>
                    <a:pt x="1087" y="270"/>
                  </a:lnTo>
                  <a:lnTo>
                    <a:pt x="1068" y="252"/>
                  </a:lnTo>
                  <a:lnTo>
                    <a:pt x="1047" y="237"/>
                  </a:lnTo>
                  <a:lnTo>
                    <a:pt x="1050" y="231"/>
                  </a:lnTo>
                  <a:lnTo>
                    <a:pt x="1055" y="221"/>
                  </a:lnTo>
                  <a:lnTo>
                    <a:pt x="1060" y="208"/>
                  </a:lnTo>
                  <a:lnTo>
                    <a:pt x="1065" y="192"/>
                  </a:lnTo>
                  <a:lnTo>
                    <a:pt x="1068" y="172"/>
                  </a:lnTo>
                  <a:lnTo>
                    <a:pt x="1069" y="161"/>
                  </a:lnTo>
                  <a:lnTo>
                    <a:pt x="1070" y="149"/>
                  </a:lnTo>
                  <a:lnTo>
                    <a:pt x="1070" y="136"/>
                  </a:lnTo>
                  <a:lnTo>
                    <a:pt x="1069" y="123"/>
                  </a:lnTo>
                  <a:lnTo>
                    <a:pt x="1067" y="110"/>
                  </a:lnTo>
                  <a:lnTo>
                    <a:pt x="1064" y="95"/>
                  </a:lnTo>
                  <a:lnTo>
                    <a:pt x="1002" y="64"/>
                  </a:lnTo>
                  <a:lnTo>
                    <a:pt x="990" y="69"/>
                  </a:lnTo>
                  <a:lnTo>
                    <a:pt x="979" y="75"/>
                  </a:lnTo>
                  <a:lnTo>
                    <a:pt x="968" y="80"/>
                  </a:lnTo>
                  <a:lnTo>
                    <a:pt x="959" y="87"/>
                  </a:lnTo>
                  <a:lnTo>
                    <a:pt x="943" y="99"/>
                  </a:lnTo>
                  <a:lnTo>
                    <a:pt x="928" y="113"/>
                  </a:lnTo>
                  <a:lnTo>
                    <a:pt x="918" y="126"/>
                  </a:lnTo>
                  <a:lnTo>
                    <a:pt x="909" y="137"/>
                  </a:lnTo>
                  <a:lnTo>
                    <a:pt x="903" y="148"/>
                  </a:lnTo>
                  <a:lnTo>
                    <a:pt x="899" y="155"/>
                  </a:lnTo>
                  <a:lnTo>
                    <a:pt x="844" y="135"/>
                  </a:lnTo>
                  <a:lnTo>
                    <a:pt x="844" y="124"/>
                  </a:lnTo>
                  <a:lnTo>
                    <a:pt x="843" y="111"/>
                  </a:lnTo>
                  <a:lnTo>
                    <a:pt x="840" y="93"/>
                  </a:lnTo>
                  <a:lnTo>
                    <a:pt x="835" y="73"/>
                  </a:lnTo>
                  <a:lnTo>
                    <a:pt x="831" y="62"/>
                  </a:lnTo>
                  <a:lnTo>
                    <a:pt x="826" y="50"/>
                  </a:lnTo>
                  <a:lnTo>
                    <a:pt x="820" y="38"/>
                  </a:lnTo>
                  <a:lnTo>
                    <a:pt x="813" y="26"/>
                  </a:lnTo>
                  <a:lnTo>
                    <a:pt x="804" y="13"/>
                  </a:lnTo>
                  <a:lnTo>
                    <a:pt x="794" y="1"/>
                  </a:lnTo>
                  <a:lnTo>
                    <a:pt x="724" y="0"/>
                  </a:lnTo>
                  <a:lnTo>
                    <a:pt x="711" y="18"/>
                  </a:lnTo>
                  <a:lnTo>
                    <a:pt x="700" y="35"/>
                  </a:lnTo>
                  <a:lnTo>
                    <a:pt x="692" y="52"/>
                  </a:lnTo>
                  <a:lnTo>
                    <a:pt x="685" y="69"/>
                  </a:lnTo>
                  <a:lnTo>
                    <a:pt x="680" y="83"/>
                  </a:lnTo>
                  <a:lnTo>
                    <a:pt x="677" y="97"/>
                  </a:lnTo>
                  <a:lnTo>
                    <a:pt x="675" y="109"/>
                  </a:lnTo>
                  <a:lnTo>
                    <a:pt x="675" y="119"/>
                  </a:lnTo>
                  <a:lnTo>
                    <a:pt x="648" y="121"/>
                  </a:lnTo>
                  <a:lnTo>
                    <a:pt x="622" y="123"/>
                  </a:lnTo>
                  <a:lnTo>
                    <a:pt x="619" y="115"/>
                  </a:lnTo>
                  <a:lnTo>
                    <a:pt x="614" y="104"/>
                  </a:lnTo>
                  <a:lnTo>
                    <a:pt x="608" y="91"/>
                  </a:lnTo>
                  <a:lnTo>
                    <a:pt x="599" y="77"/>
                  </a:lnTo>
                  <a:lnTo>
                    <a:pt x="588" y="62"/>
                  </a:lnTo>
                  <a:lnTo>
                    <a:pt x="574" y="46"/>
                  </a:lnTo>
                  <a:lnTo>
                    <a:pt x="566" y="39"/>
                  </a:lnTo>
                  <a:lnTo>
                    <a:pt x="557" y="31"/>
                  </a:lnTo>
                  <a:lnTo>
                    <a:pt x="547" y="24"/>
                  </a:lnTo>
                  <a:lnTo>
                    <a:pt x="537" y="16"/>
                  </a:lnTo>
                  <a:lnTo>
                    <a:pt x="470" y="36"/>
                  </a:lnTo>
                  <a:lnTo>
                    <a:pt x="465" y="47"/>
                  </a:lnTo>
                  <a:lnTo>
                    <a:pt x="462" y="58"/>
                  </a:lnTo>
                  <a:lnTo>
                    <a:pt x="456" y="79"/>
                  </a:lnTo>
                  <a:lnTo>
                    <a:pt x="453" y="99"/>
                  </a:lnTo>
                  <a:lnTo>
                    <a:pt x="452" y="117"/>
                  </a:lnTo>
                  <a:lnTo>
                    <a:pt x="452" y="133"/>
                  </a:lnTo>
                  <a:lnTo>
                    <a:pt x="454" y="148"/>
                  </a:lnTo>
                  <a:lnTo>
                    <a:pt x="456" y="160"/>
                  </a:lnTo>
                  <a:lnTo>
                    <a:pt x="458" y="169"/>
                  </a:lnTo>
                  <a:lnTo>
                    <a:pt x="430" y="182"/>
                  </a:lnTo>
                  <a:lnTo>
                    <a:pt x="404" y="197"/>
                  </a:lnTo>
                  <a:lnTo>
                    <a:pt x="397" y="190"/>
                  </a:lnTo>
                  <a:lnTo>
                    <a:pt x="389" y="181"/>
                  </a:lnTo>
                  <a:lnTo>
                    <a:pt x="378" y="172"/>
                  </a:lnTo>
                  <a:lnTo>
                    <a:pt x="365" y="162"/>
                  </a:lnTo>
                  <a:lnTo>
                    <a:pt x="349" y="153"/>
                  </a:lnTo>
                  <a:lnTo>
                    <a:pt x="331" y="143"/>
                  </a:lnTo>
                  <a:lnTo>
                    <a:pt x="321" y="139"/>
                  </a:lnTo>
                  <a:lnTo>
                    <a:pt x="309" y="136"/>
                  </a:lnTo>
                  <a:lnTo>
                    <a:pt x="298" y="132"/>
                  </a:lnTo>
                  <a:lnTo>
                    <a:pt x="286" y="130"/>
                  </a:lnTo>
                  <a:lnTo>
                    <a:pt x="231" y="173"/>
                  </a:lnTo>
                  <a:lnTo>
                    <a:pt x="231" y="186"/>
                  </a:lnTo>
                  <a:lnTo>
                    <a:pt x="232" y="197"/>
                  </a:lnTo>
                  <a:lnTo>
                    <a:pt x="234" y="219"/>
                  </a:lnTo>
                  <a:lnTo>
                    <a:pt x="240" y="239"/>
                  </a:lnTo>
                  <a:lnTo>
                    <a:pt x="245" y="256"/>
                  </a:lnTo>
                  <a:lnTo>
                    <a:pt x="252" y="272"/>
                  </a:lnTo>
                  <a:lnTo>
                    <a:pt x="258" y="284"/>
                  </a:lnTo>
                  <a:lnTo>
                    <a:pt x="265" y="294"/>
                  </a:lnTo>
                  <a:lnTo>
                    <a:pt x="270" y="301"/>
                  </a:lnTo>
                  <a:lnTo>
                    <a:pt x="254" y="320"/>
                  </a:lnTo>
                  <a:lnTo>
                    <a:pt x="237" y="339"/>
                  </a:lnTo>
                  <a:lnTo>
                    <a:pt x="231" y="336"/>
                  </a:lnTo>
                  <a:lnTo>
                    <a:pt x="222" y="331"/>
                  </a:lnTo>
                  <a:lnTo>
                    <a:pt x="209" y="326"/>
                  </a:lnTo>
                  <a:lnTo>
                    <a:pt x="191" y="322"/>
                  </a:lnTo>
                  <a:lnTo>
                    <a:pt x="172" y="318"/>
                  </a:lnTo>
                  <a:lnTo>
                    <a:pt x="162" y="317"/>
                  </a:lnTo>
                  <a:lnTo>
                    <a:pt x="149" y="317"/>
                  </a:lnTo>
                  <a:lnTo>
                    <a:pt x="137" y="317"/>
                  </a:lnTo>
                  <a:lnTo>
                    <a:pt x="125" y="318"/>
                  </a:lnTo>
                  <a:lnTo>
                    <a:pt x="111" y="320"/>
                  </a:lnTo>
                  <a:lnTo>
                    <a:pt x="97" y="322"/>
                  </a:lnTo>
                  <a:lnTo>
                    <a:pt x="65" y="383"/>
                  </a:lnTo>
                  <a:lnTo>
                    <a:pt x="69" y="395"/>
                  </a:lnTo>
                  <a:lnTo>
                    <a:pt x="74" y="405"/>
                  </a:lnTo>
                  <a:lnTo>
                    <a:pt x="87" y="424"/>
                  </a:lnTo>
                  <a:lnTo>
                    <a:pt x="98" y="441"/>
                  </a:lnTo>
                  <a:lnTo>
                    <a:pt x="110" y="454"/>
                  </a:lnTo>
                  <a:lnTo>
                    <a:pt x="123" y="465"/>
                  </a:lnTo>
                  <a:lnTo>
                    <a:pt x="134" y="474"/>
                  </a:lnTo>
                  <a:lnTo>
                    <a:pt x="144" y="481"/>
                  </a:lnTo>
                  <a:lnTo>
                    <a:pt x="152" y="486"/>
                  </a:lnTo>
                  <a:lnTo>
                    <a:pt x="142" y="512"/>
                  </a:lnTo>
                  <a:lnTo>
                    <a:pt x="133" y="539"/>
                  </a:lnTo>
                  <a:lnTo>
                    <a:pt x="125" y="539"/>
                  </a:lnTo>
                  <a:lnTo>
                    <a:pt x="113" y="540"/>
                  </a:lnTo>
                  <a:lnTo>
                    <a:pt x="99" y="541"/>
                  </a:lnTo>
                  <a:lnTo>
                    <a:pt x="83" y="545"/>
                  </a:lnTo>
                  <a:lnTo>
                    <a:pt x="64" y="550"/>
                  </a:lnTo>
                  <a:lnTo>
                    <a:pt x="45" y="559"/>
                  </a:lnTo>
                  <a:lnTo>
                    <a:pt x="35" y="564"/>
                  </a:lnTo>
                  <a:lnTo>
                    <a:pt x="24" y="570"/>
                  </a:lnTo>
                  <a:lnTo>
                    <a:pt x="13" y="577"/>
                  </a:lnTo>
                  <a:lnTo>
                    <a:pt x="3" y="585"/>
                  </a:lnTo>
                  <a:lnTo>
                    <a:pt x="0" y="654"/>
                  </a:lnTo>
                  <a:lnTo>
                    <a:pt x="15" y="667"/>
                  </a:lnTo>
                  <a:lnTo>
                    <a:pt x="30" y="677"/>
                  </a:lnTo>
                  <a:lnTo>
                    <a:pt x="46" y="687"/>
                  </a:lnTo>
                  <a:lnTo>
                    <a:pt x="60" y="694"/>
                  </a:lnTo>
                  <a:lnTo>
                    <a:pt x="74" y="699"/>
                  </a:lnTo>
                  <a:lnTo>
                    <a:pt x="88" y="703"/>
                  </a:lnTo>
                  <a:lnTo>
                    <a:pt x="99" y="705"/>
                  </a:lnTo>
                  <a:lnTo>
                    <a:pt x="109" y="707"/>
                  </a:lnTo>
                  <a:lnTo>
                    <a:pt x="110" y="742"/>
                  </a:lnTo>
                  <a:lnTo>
                    <a:pt x="113" y="775"/>
                  </a:lnTo>
                  <a:lnTo>
                    <a:pt x="104" y="779"/>
                  </a:lnTo>
                  <a:lnTo>
                    <a:pt x="93" y="784"/>
                  </a:lnTo>
                  <a:lnTo>
                    <a:pt x="81" y="790"/>
                  </a:lnTo>
                  <a:lnTo>
                    <a:pt x="67" y="798"/>
                  </a:lnTo>
                  <a:lnTo>
                    <a:pt x="54" y="808"/>
                  </a:lnTo>
                  <a:lnTo>
                    <a:pt x="41" y="820"/>
                  </a:lnTo>
                  <a:lnTo>
                    <a:pt x="27" y="833"/>
                  </a:lnTo>
                  <a:lnTo>
                    <a:pt x="14" y="850"/>
                  </a:lnTo>
                  <a:lnTo>
                    <a:pt x="29" y="917"/>
                  </a:lnTo>
                  <a:lnTo>
                    <a:pt x="50" y="926"/>
                  </a:lnTo>
                  <a:lnTo>
                    <a:pt x="70" y="934"/>
                  </a:lnTo>
                  <a:lnTo>
                    <a:pt x="89" y="938"/>
                  </a:lnTo>
                  <a:lnTo>
                    <a:pt x="106" y="940"/>
                  </a:lnTo>
                  <a:lnTo>
                    <a:pt x="122" y="941"/>
                  </a:lnTo>
                  <a:lnTo>
                    <a:pt x="136" y="941"/>
                  </a:lnTo>
                  <a:lnTo>
                    <a:pt x="148" y="940"/>
                  </a:lnTo>
                  <a:lnTo>
                    <a:pt x="159" y="939"/>
                  </a:lnTo>
                  <a:lnTo>
                    <a:pt x="172" y="966"/>
                  </a:lnTo>
                  <a:lnTo>
                    <a:pt x="186" y="994"/>
                  </a:lnTo>
                  <a:lnTo>
                    <a:pt x="179" y="1001"/>
                  </a:lnTo>
                  <a:lnTo>
                    <a:pt x="171" y="1011"/>
                  </a:lnTo>
                  <a:lnTo>
                    <a:pt x="162" y="1022"/>
                  </a:lnTo>
                  <a:lnTo>
                    <a:pt x="153" y="1034"/>
                  </a:lnTo>
                  <a:lnTo>
                    <a:pt x="145" y="1049"/>
                  </a:lnTo>
                  <a:lnTo>
                    <a:pt x="137" y="1066"/>
                  </a:lnTo>
                  <a:lnTo>
                    <a:pt x="131" y="1085"/>
                  </a:lnTo>
                  <a:lnTo>
                    <a:pt x="126" y="1106"/>
                  </a:lnTo>
                  <a:lnTo>
                    <a:pt x="126" y="1107"/>
                  </a:lnTo>
                  <a:lnTo>
                    <a:pt x="169" y="1160"/>
                  </a:lnTo>
                  <a:lnTo>
                    <a:pt x="190" y="1160"/>
                  </a:lnTo>
                  <a:lnTo>
                    <a:pt x="210" y="1158"/>
                  </a:lnTo>
                  <a:lnTo>
                    <a:pt x="227" y="1155"/>
                  </a:lnTo>
                  <a:lnTo>
                    <a:pt x="244" y="1150"/>
                  </a:lnTo>
                  <a:lnTo>
                    <a:pt x="258" y="1145"/>
                  </a:lnTo>
                  <a:lnTo>
                    <a:pt x="270" y="1139"/>
                  </a:lnTo>
                  <a:lnTo>
                    <a:pt x="282" y="1132"/>
                  </a:lnTo>
                  <a:lnTo>
                    <a:pt x="290" y="1127"/>
                  </a:lnTo>
                  <a:lnTo>
                    <a:pt x="310" y="1147"/>
                  </a:lnTo>
                  <a:lnTo>
                    <a:pt x="333" y="1164"/>
                  </a:lnTo>
                  <a:lnTo>
                    <a:pt x="328" y="1172"/>
                  </a:lnTo>
                  <a:lnTo>
                    <a:pt x="324" y="1184"/>
                  </a:lnTo>
                  <a:lnTo>
                    <a:pt x="318" y="1197"/>
                  </a:lnTo>
                  <a:lnTo>
                    <a:pt x="314" y="1213"/>
                  </a:lnTo>
                  <a:lnTo>
                    <a:pt x="311" y="1231"/>
                  </a:lnTo>
                  <a:lnTo>
                    <a:pt x="309" y="1251"/>
                  </a:lnTo>
                  <a:lnTo>
                    <a:pt x="309" y="1273"/>
                  </a:lnTo>
                  <a:lnTo>
                    <a:pt x="310" y="1285"/>
                  </a:lnTo>
                  <a:lnTo>
                    <a:pt x="312" y="1297"/>
                  </a:lnTo>
                  <a:lnTo>
                    <a:pt x="372" y="1332"/>
                  </a:lnTo>
                  <a:lnTo>
                    <a:pt x="384" y="1328"/>
                  </a:lnTo>
                  <a:lnTo>
                    <a:pt x="395" y="1323"/>
                  </a:lnTo>
                  <a:lnTo>
                    <a:pt x="406" y="1318"/>
                  </a:lnTo>
                  <a:lnTo>
                    <a:pt x="415" y="1313"/>
                  </a:lnTo>
                  <a:lnTo>
                    <a:pt x="431" y="1301"/>
                  </a:lnTo>
                  <a:lnTo>
                    <a:pt x="446" y="1289"/>
                  </a:lnTo>
                  <a:lnTo>
                    <a:pt x="458" y="1277"/>
                  </a:lnTo>
                  <a:lnTo>
                    <a:pt x="467" y="1267"/>
                  </a:lnTo>
                  <a:lnTo>
                    <a:pt x="474" y="1257"/>
                  </a:lnTo>
                  <a:lnTo>
                    <a:pt x="479" y="1249"/>
                  </a:lnTo>
                  <a:lnTo>
                    <a:pt x="510" y="1261"/>
                  </a:lnTo>
                  <a:lnTo>
                    <a:pt x="542" y="1270"/>
                  </a:lnTo>
                  <a:lnTo>
                    <a:pt x="542" y="1280"/>
                  </a:lnTo>
                  <a:lnTo>
                    <a:pt x="543" y="1291"/>
                  </a:lnTo>
                  <a:lnTo>
                    <a:pt x="545" y="1306"/>
                  </a:lnTo>
                  <a:lnTo>
                    <a:pt x="549" y="1322"/>
                  </a:lnTo>
                  <a:lnTo>
                    <a:pt x="554" y="1338"/>
                  </a:lnTo>
                  <a:lnTo>
                    <a:pt x="562" y="1357"/>
                  </a:lnTo>
                  <a:lnTo>
                    <a:pt x="573" y="1375"/>
                  </a:lnTo>
                  <a:lnTo>
                    <a:pt x="579" y="1386"/>
                  </a:lnTo>
                  <a:lnTo>
                    <a:pt x="586" y="1395"/>
                  </a:lnTo>
                  <a:lnTo>
                    <a:pt x="656" y="1399"/>
                  </a:lnTo>
                  <a:lnTo>
                    <a:pt x="656" y="1398"/>
                  </a:lnTo>
                  <a:lnTo>
                    <a:pt x="668" y="1384"/>
                  </a:lnTo>
                  <a:lnTo>
                    <a:pt x="679" y="1368"/>
                  </a:lnTo>
                  <a:lnTo>
                    <a:pt x="689" y="1353"/>
                  </a:lnTo>
                  <a:lnTo>
                    <a:pt x="695" y="1338"/>
                  </a:lnTo>
                  <a:lnTo>
                    <a:pt x="701" y="1325"/>
                  </a:lnTo>
                  <a:lnTo>
                    <a:pt x="705" y="1313"/>
                  </a:lnTo>
                  <a:lnTo>
                    <a:pt x="707" y="1301"/>
                  </a:lnTo>
                  <a:lnTo>
                    <a:pt x="709" y="1290"/>
                  </a:lnTo>
                  <a:lnTo>
                    <a:pt x="742" y="1288"/>
                  </a:lnTo>
                  <a:lnTo>
                    <a:pt x="775" y="1285"/>
                  </a:lnTo>
                  <a:lnTo>
                    <a:pt x="778" y="1295"/>
                  </a:lnTo>
                  <a:lnTo>
                    <a:pt x="783" y="1307"/>
                  </a:lnTo>
                  <a:lnTo>
                    <a:pt x="789" y="1318"/>
                  </a:lnTo>
                  <a:lnTo>
                    <a:pt x="796" y="1331"/>
                  </a:lnTo>
                  <a:lnTo>
                    <a:pt x="805" y="1345"/>
                  </a:lnTo>
                  <a:lnTo>
                    <a:pt x="818" y="1359"/>
                  </a:lnTo>
                  <a:lnTo>
                    <a:pt x="831" y="1372"/>
                  </a:lnTo>
                  <a:lnTo>
                    <a:pt x="846" y="1386"/>
                  </a:lnTo>
                  <a:lnTo>
                    <a:pt x="915" y="1371"/>
                  </a:lnTo>
                  <a:lnTo>
                    <a:pt x="920" y="1360"/>
                  </a:lnTo>
                  <a:lnTo>
                    <a:pt x="925" y="1350"/>
                  </a:lnTo>
                  <a:lnTo>
                    <a:pt x="932" y="1328"/>
                  </a:lnTo>
                  <a:lnTo>
                    <a:pt x="937" y="1309"/>
                  </a:lnTo>
                  <a:lnTo>
                    <a:pt x="940" y="1290"/>
                  </a:lnTo>
                  <a:lnTo>
                    <a:pt x="941" y="1274"/>
                  </a:lnTo>
                  <a:lnTo>
                    <a:pt x="940" y="1260"/>
                  </a:lnTo>
                  <a:lnTo>
                    <a:pt x="939" y="1247"/>
                  </a:lnTo>
                  <a:lnTo>
                    <a:pt x="938" y="1238"/>
                  </a:lnTo>
                  <a:lnTo>
                    <a:pt x="965" y="1225"/>
                  </a:lnTo>
                  <a:lnTo>
                    <a:pt x="993" y="1209"/>
                  </a:lnTo>
                  <a:lnTo>
                    <a:pt x="1000" y="1217"/>
                  </a:lnTo>
                  <a:lnTo>
                    <a:pt x="1009" y="1226"/>
                  </a:lnTo>
                  <a:lnTo>
                    <a:pt x="1020" y="1234"/>
                  </a:lnTo>
                  <a:lnTo>
                    <a:pt x="1031" y="1242"/>
                  </a:lnTo>
                  <a:lnTo>
                    <a:pt x="1044" y="1251"/>
                  </a:lnTo>
                  <a:lnTo>
                    <a:pt x="1059" y="1259"/>
                  </a:lnTo>
                  <a:lnTo>
                    <a:pt x="1076" y="1266"/>
                  </a:lnTo>
                  <a:lnTo>
                    <a:pt x="1094" y="1272"/>
                  </a:lnTo>
                  <a:lnTo>
                    <a:pt x="1152" y="1234"/>
                  </a:lnTo>
                  <a:lnTo>
                    <a:pt x="1153" y="1222"/>
                  </a:lnTo>
                  <a:lnTo>
                    <a:pt x="1154" y="1210"/>
                  </a:lnTo>
                  <a:lnTo>
                    <a:pt x="1153" y="1188"/>
                  </a:lnTo>
                  <a:lnTo>
                    <a:pt x="1150" y="1168"/>
                  </a:lnTo>
                  <a:lnTo>
                    <a:pt x="1146" y="1151"/>
                  </a:lnTo>
                  <a:lnTo>
                    <a:pt x="1141" y="1136"/>
                  </a:lnTo>
                  <a:lnTo>
                    <a:pt x="1135" y="1122"/>
                  </a:lnTo>
                  <a:lnTo>
                    <a:pt x="1130" y="1111"/>
                  </a:lnTo>
                  <a:lnTo>
                    <a:pt x="1125" y="1103"/>
                  </a:lnTo>
                  <a:lnTo>
                    <a:pt x="1143" y="1082"/>
                  </a:lnTo>
                  <a:lnTo>
                    <a:pt x="1160" y="1062"/>
                  </a:lnTo>
                  <a:lnTo>
                    <a:pt x="1169" y="1066"/>
                  </a:lnTo>
                  <a:lnTo>
                    <a:pt x="1181" y="1070"/>
                  </a:lnTo>
                  <a:lnTo>
                    <a:pt x="1194" y="1074"/>
                  </a:lnTo>
                  <a:lnTo>
                    <a:pt x="1209" y="1078"/>
                  </a:lnTo>
                  <a:lnTo>
                    <a:pt x="1227" y="1080"/>
                  </a:lnTo>
                  <a:lnTo>
                    <a:pt x="1245" y="1081"/>
                  </a:lnTo>
                  <a:lnTo>
                    <a:pt x="1266" y="1081"/>
                  </a:lnTo>
                  <a:lnTo>
                    <a:pt x="1287" y="1078"/>
                  </a:lnTo>
                  <a:lnTo>
                    <a:pt x="1288" y="1078"/>
                  </a:lnTo>
                  <a:lnTo>
                    <a:pt x="1323" y="1019"/>
                  </a:lnTo>
                  <a:lnTo>
                    <a:pt x="1323" y="1018"/>
                  </a:lnTo>
                  <a:lnTo>
                    <a:pt x="1319" y="1007"/>
                  </a:lnTo>
                  <a:lnTo>
                    <a:pt x="1314" y="997"/>
                  </a:lnTo>
                  <a:lnTo>
                    <a:pt x="1305" y="978"/>
                  </a:lnTo>
                  <a:lnTo>
                    <a:pt x="1293" y="962"/>
                  </a:lnTo>
                  <a:lnTo>
                    <a:pt x="1282" y="948"/>
                  </a:lnTo>
                  <a:lnTo>
                    <a:pt x="1271" y="937"/>
                  </a:lnTo>
                  <a:lnTo>
                    <a:pt x="1260" y="928"/>
                  </a:lnTo>
                  <a:lnTo>
                    <a:pt x="1251" y="919"/>
                  </a:lnTo>
                  <a:lnTo>
                    <a:pt x="1243" y="914"/>
                  </a:lnTo>
                  <a:lnTo>
                    <a:pt x="1254" y="882"/>
                  </a:lnTo>
                  <a:lnTo>
                    <a:pt x="1264" y="851"/>
                  </a:lnTo>
                  <a:lnTo>
                    <a:pt x="1272" y="850"/>
                  </a:lnTo>
                  <a:lnTo>
                    <a:pt x="1283" y="849"/>
                  </a:lnTo>
                  <a:lnTo>
                    <a:pt x="1297" y="847"/>
                  </a:lnTo>
                  <a:lnTo>
                    <a:pt x="1314" y="842"/>
                  </a:lnTo>
                  <a:lnTo>
                    <a:pt x="1332" y="836"/>
                  </a:lnTo>
                  <a:lnTo>
                    <a:pt x="1352" y="827"/>
                  </a:lnTo>
                  <a:lnTo>
                    <a:pt x="1361" y="822"/>
                  </a:lnTo>
                  <a:lnTo>
                    <a:pt x="1371" y="816"/>
                  </a:lnTo>
                  <a:lnTo>
                    <a:pt x="1381" y="808"/>
                  </a:lnTo>
                  <a:lnTo>
                    <a:pt x="1392" y="799"/>
                  </a:lnTo>
                  <a:lnTo>
                    <a:pt x="1392" y="73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 lang="en-US">
                <a:ea typeface="ＭＳ Ｐゴシック" pitchFamily="31" charset="-128"/>
              </a:endParaRPr>
            </a:p>
          </p:txBody>
        </p:sp>
        <p:sp>
          <p:nvSpPr>
            <p:cNvPr id="36" name="Freeform 51"/>
            <p:cNvSpPr>
              <a:spLocks/>
            </p:cNvSpPr>
            <p:nvPr/>
          </p:nvSpPr>
          <p:spPr bwMode="auto">
            <a:xfrm>
              <a:off x="4631" y="3483"/>
              <a:ext cx="315" cy="326"/>
            </a:xfrm>
            <a:custGeom>
              <a:avLst/>
              <a:gdLst>
                <a:gd name="T0" fmla="*/ 620 w 621"/>
                <a:gd name="T1" fmla="*/ 326 h 621"/>
                <a:gd name="T2" fmla="*/ 615 w 621"/>
                <a:gd name="T3" fmla="*/ 373 h 621"/>
                <a:gd name="T4" fmla="*/ 602 w 621"/>
                <a:gd name="T5" fmla="*/ 417 h 621"/>
                <a:gd name="T6" fmla="*/ 583 w 621"/>
                <a:gd name="T7" fmla="*/ 458 h 621"/>
                <a:gd name="T8" fmla="*/ 560 w 621"/>
                <a:gd name="T9" fmla="*/ 496 h 621"/>
                <a:gd name="T10" fmla="*/ 530 w 621"/>
                <a:gd name="T11" fmla="*/ 530 h 621"/>
                <a:gd name="T12" fmla="*/ 496 w 621"/>
                <a:gd name="T13" fmla="*/ 560 h 621"/>
                <a:gd name="T14" fmla="*/ 458 w 621"/>
                <a:gd name="T15" fmla="*/ 583 h 621"/>
                <a:gd name="T16" fmla="*/ 417 w 621"/>
                <a:gd name="T17" fmla="*/ 602 h 621"/>
                <a:gd name="T18" fmla="*/ 373 w 621"/>
                <a:gd name="T19" fmla="*/ 615 h 621"/>
                <a:gd name="T20" fmla="*/ 326 w 621"/>
                <a:gd name="T21" fmla="*/ 620 h 621"/>
                <a:gd name="T22" fmla="*/ 294 w 621"/>
                <a:gd name="T23" fmla="*/ 620 h 621"/>
                <a:gd name="T24" fmla="*/ 248 w 621"/>
                <a:gd name="T25" fmla="*/ 615 h 621"/>
                <a:gd name="T26" fmla="*/ 203 w 621"/>
                <a:gd name="T27" fmla="*/ 602 h 621"/>
                <a:gd name="T28" fmla="*/ 162 w 621"/>
                <a:gd name="T29" fmla="*/ 583 h 621"/>
                <a:gd name="T30" fmla="*/ 124 w 621"/>
                <a:gd name="T31" fmla="*/ 560 h 621"/>
                <a:gd name="T32" fmla="*/ 90 w 621"/>
                <a:gd name="T33" fmla="*/ 530 h 621"/>
                <a:gd name="T34" fmla="*/ 61 w 621"/>
                <a:gd name="T35" fmla="*/ 496 h 621"/>
                <a:gd name="T36" fmla="*/ 37 w 621"/>
                <a:gd name="T37" fmla="*/ 458 h 621"/>
                <a:gd name="T38" fmla="*/ 18 w 621"/>
                <a:gd name="T39" fmla="*/ 417 h 621"/>
                <a:gd name="T40" fmla="*/ 6 w 621"/>
                <a:gd name="T41" fmla="*/ 373 h 621"/>
                <a:gd name="T42" fmla="*/ 0 w 621"/>
                <a:gd name="T43" fmla="*/ 326 h 621"/>
                <a:gd name="T44" fmla="*/ 0 w 621"/>
                <a:gd name="T45" fmla="*/ 294 h 621"/>
                <a:gd name="T46" fmla="*/ 6 w 621"/>
                <a:gd name="T47" fmla="*/ 248 h 621"/>
                <a:gd name="T48" fmla="*/ 18 w 621"/>
                <a:gd name="T49" fmla="*/ 204 h 621"/>
                <a:gd name="T50" fmla="*/ 37 w 621"/>
                <a:gd name="T51" fmla="*/ 162 h 621"/>
                <a:gd name="T52" fmla="*/ 61 w 621"/>
                <a:gd name="T53" fmla="*/ 124 h 621"/>
                <a:gd name="T54" fmla="*/ 90 w 621"/>
                <a:gd name="T55" fmla="*/ 90 h 621"/>
                <a:gd name="T56" fmla="*/ 124 w 621"/>
                <a:gd name="T57" fmla="*/ 62 h 621"/>
                <a:gd name="T58" fmla="*/ 162 w 621"/>
                <a:gd name="T59" fmla="*/ 37 h 621"/>
                <a:gd name="T60" fmla="*/ 203 w 621"/>
                <a:gd name="T61" fmla="*/ 19 h 621"/>
                <a:gd name="T62" fmla="*/ 248 w 621"/>
                <a:gd name="T63" fmla="*/ 6 h 621"/>
                <a:gd name="T64" fmla="*/ 294 w 621"/>
                <a:gd name="T65" fmla="*/ 0 h 621"/>
                <a:gd name="T66" fmla="*/ 326 w 621"/>
                <a:gd name="T67" fmla="*/ 0 h 621"/>
                <a:gd name="T68" fmla="*/ 373 w 621"/>
                <a:gd name="T69" fmla="*/ 6 h 621"/>
                <a:gd name="T70" fmla="*/ 417 w 621"/>
                <a:gd name="T71" fmla="*/ 19 h 621"/>
                <a:gd name="T72" fmla="*/ 458 w 621"/>
                <a:gd name="T73" fmla="*/ 37 h 621"/>
                <a:gd name="T74" fmla="*/ 496 w 621"/>
                <a:gd name="T75" fmla="*/ 62 h 621"/>
                <a:gd name="T76" fmla="*/ 530 w 621"/>
                <a:gd name="T77" fmla="*/ 90 h 621"/>
                <a:gd name="T78" fmla="*/ 560 w 621"/>
                <a:gd name="T79" fmla="*/ 124 h 621"/>
                <a:gd name="T80" fmla="*/ 583 w 621"/>
                <a:gd name="T81" fmla="*/ 162 h 621"/>
                <a:gd name="T82" fmla="*/ 602 w 621"/>
                <a:gd name="T83" fmla="*/ 204 h 621"/>
                <a:gd name="T84" fmla="*/ 615 w 621"/>
                <a:gd name="T85" fmla="*/ 248 h 621"/>
                <a:gd name="T86" fmla="*/ 620 w 621"/>
                <a:gd name="T87" fmla="*/ 294 h 62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21"/>
                <a:gd name="T133" fmla="*/ 0 h 621"/>
                <a:gd name="T134" fmla="*/ 621 w 621"/>
                <a:gd name="T135" fmla="*/ 621 h 62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21" h="621">
                  <a:moveTo>
                    <a:pt x="621" y="311"/>
                  </a:moveTo>
                  <a:lnTo>
                    <a:pt x="621" y="311"/>
                  </a:lnTo>
                  <a:lnTo>
                    <a:pt x="620" y="326"/>
                  </a:lnTo>
                  <a:lnTo>
                    <a:pt x="619" y="343"/>
                  </a:lnTo>
                  <a:lnTo>
                    <a:pt x="617" y="358"/>
                  </a:lnTo>
                  <a:lnTo>
                    <a:pt x="615" y="373"/>
                  </a:lnTo>
                  <a:lnTo>
                    <a:pt x="611" y="388"/>
                  </a:lnTo>
                  <a:lnTo>
                    <a:pt x="607" y="403"/>
                  </a:lnTo>
                  <a:lnTo>
                    <a:pt x="602" y="417"/>
                  </a:lnTo>
                  <a:lnTo>
                    <a:pt x="596" y="432"/>
                  </a:lnTo>
                  <a:lnTo>
                    <a:pt x="590" y="445"/>
                  </a:lnTo>
                  <a:lnTo>
                    <a:pt x="583" y="458"/>
                  </a:lnTo>
                  <a:lnTo>
                    <a:pt x="576" y="472"/>
                  </a:lnTo>
                  <a:lnTo>
                    <a:pt x="568" y="484"/>
                  </a:lnTo>
                  <a:lnTo>
                    <a:pt x="560" y="496"/>
                  </a:lnTo>
                  <a:lnTo>
                    <a:pt x="550" y="509"/>
                  </a:lnTo>
                  <a:lnTo>
                    <a:pt x="540" y="520"/>
                  </a:lnTo>
                  <a:lnTo>
                    <a:pt x="530" y="530"/>
                  </a:lnTo>
                  <a:lnTo>
                    <a:pt x="518" y="540"/>
                  </a:lnTo>
                  <a:lnTo>
                    <a:pt x="507" y="551"/>
                  </a:lnTo>
                  <a:lnTo>
                    <a:pt x="496" y="560"/>
                  </a:lnTo>
                  <a:lnTo>
                    <a:pt x="484" y="568"/>
                  </a:lnTo>
                  <a:lnTo>
                    <a:pt x="471" y="576"/>
                  </a:lnTo>
                  <a:lnTo>
                    <a:pt x="458" y="583"/>
                  </a:lnTo>
                  <a:lnTo>
                    <a:pt x="445" y="591"/>
                  </a:lnTo>
                  <a:lnTo>
                    <a:pt x="431" y="597"/>
                  </a:lnTo>
                  <a:lnTo>
                    <a:pt x="417" y="602"/>
                  </a:lnTo>
                  <a:lnTo>
                    <a:pt x="403" y="607"/>
                  </a:lnTo>
                  <a:lnTo>
                    <a:pt x="387" y="611"/>
                  </a:lnTo>
                  <a:lnTo>
                    <a:pt x="373" y="615"/>
                  </a:lnTo>
                  <a:lnTo>
                    <a:pt x="358" y="617"/>
                  </a:lnTo>
                  <a:lnTo>
                    <a:pt x="342" y="619"/>
                  </a:lnTo>
                  <a:lnTo>
                    <a:pt x="326" y="620"/>
                  </a:lnTo>
                  <a:lnTo>
                    <a:pt x="310" y="621"/>
                  </a:lnTo>
                  <a:lnTo>
                    <a:pt x="294" y="620"/>
                  </a:lnTo>
                  <a:lnTo>
                    <a:pt x="279" y="619"/>
                  </a:lnTo>
                  <a:lnTo>
                    <a:pt x="262" y="617"/>
                  </a:lnTo>
                  <a:lnTo>
                    <a:pt x="248" y="615"/>
                  </a:lnTo>
                  <a:lnTo>
                    <a:pt x="233" y="611"/>
                  </a:lnTo>
                  <a:lnTo>
                    <a:pt x="218" y="607"/>
                  </a:lnTo>
                  <a:lnTo>
                    <a:pt x="203" y="602"/>
                  </a:lnTo>
                  <a:lnTo>
                    <a:pt x="189" y="597"/>
                  </a:lnTo>
                  <a:lnTo>
                    <a:pt x="175" y="591"/>
                  </a:lnTo>
                  <a:lnTo>
                    <a:pt x="162" y="583"/>
                  </a:lnTo>
                  <a:lnTo>
                    <a:pt x="148" y="576"/>
                  </a:lnTo>
                  <a:lnTo>
                    <a:pt x="136" y="568"/>
                  </a:lnTo>
                  <a:lnTo>
                    <a:pt x="124" y="560"/>
                  </a:lnTo>
                  <a:lnTo>
                    <a:pt x="113" y="551"/>
                  </a:lnTo>
                  <a:lnTo>
                    <a:pt x="101" y="540"/>
                  </a:lnTo>
                  <a:lnTo>
                    <a:pt x="90" y="530"/>
                  </a:lnTo>
                  <a:lnTo>
                    <a:pt x="80" y="520"/>
                  </a:lnTo>
                  <a:lnTo>
                    <a:pt x="71" y="509"/>
                  </a:lnTo>
                  <a:lnTo>
                    <a:pt x="61" y="496"/>
                  </a:lnTo>
                  <a:lnTo>
                    <a:pt x="52" y="484"/>
                  </a:lnTo>
                  <a:lnTo>
                    <a:pt x="44" y="472"/>
                  </a:lnTo>
                  <a:lnTo>
                    <a:pt x="37" y="458"/>
                  </a:lnTo>
                  <a:lnTo>
                    <a:pt x="30" y="445"/>
                  </a:lnTo>
                  <a:lnTo>
                    <a:pt x="23" y="432"/>
                  </a:lnTo>
                  <a:lnTo>
                    <a:pt x="18" y="417"/>
                  </a:lnTo>
                  <a:lnTo>
                    <a:pt x="13" y="403"/>
                  </a:lnTo>
                  <a:lnTo>
                    <a:pt x="9" y="388"/>
                  </a:lnTo>
                  <a:lnTo>
                    <a:pt x="6" y="373"/>
                  </a:lnTo>
                  <a:lnTo>
                    <a:pt x="3" y="358"/>
                  </a:lnTo>
                  <a:lnTo>
                    <a:pt x="1" y="343"/>
                  </a:lnTo>
                  <a:lnTo>
                    <a:pt x="0" y="326"/>
                  </a:lnTo>
                  <a:lnTo>
                    <a:pt x="0" y="311"/>
                  </a:lnTo>
                  <a:lnTo>
                    <a:pt x="0" y="294"/>
                  </a:lnTo>
                  <a:lnTo>
                    <a:pt x="1" y="279"/>
                  </a:lnTo>
                  <a:lnTo>
                    <a:pt x="3" y="264"/>
                  </a:lnTo>
                  <a:lnTo>
                    <a:pt x="6" y="248"/>
                  </a:lnTo>
                  <a:lnTo>
                    <a:pt x="9" y="233"/>
                  </a:lnTo>
                  <a:lnTo>
                    <a:pt x="13" y="219"/>
                  </a:lnTo>
                  <a:lnTo>
                    <a:pt x="18" y="204"/>
                  </a:lnTo>
                  <a:lnTo>
                    <a:pt x="23" y="190"/>
                  </a:lnTo>
                  <a:lnTo>
                    <a:pt x="30" y="175"/>
                  </a:lnTo>
                  <a:lnTo>
                    <a:pt x="37" y="162"/>
                  </a:lnTo>
                  <a:lnTo>
                    <a:pt x="44" y="150"/>
                  </a:lnTo>
                  <a:lnTo>
                    <a:pt x="52" y="137"/>
                  </a:lnTo>
                  <a:lnTo>
                    <a:pt x="61" y="124"/>
                  </a:lnTo>
                  <a:lnTo>
                    <a:pt x="71" y="113"/>
                  </a:lnTo>
                  <a:lnTo>
                    <a:pt x="80" y="102"/>
                  </a:lnTo>
                  <a:lnTo>
                    <a:pt x="90" y="90"/>
                  </a:lnTo>
                  <a:lnTo>
                    <a:pt x="101" y="80"/>
                  </a:lnTo>
                  <a:lnTo>
                    <a:pt x="113" y="71"/>
                  </a:lnTo>
                  <a:lnTo>
                    <a:pt x="124" y="62"/>
                  </a:lnTo>
                  <a:lnTo>
                    <a:pt x="136" y="53"/>
                  </a:lnTo>
                  <a:lnTo>
                    <a:pt x="148" y="45"/>
                  </a:lnTo>
                  <a:lnTo>
                    <a:pt x="162" y="37"/>
                  </a:lnTo>
                  <a:lnTo>
                    <a:pt x="175" y="31"/>
                  </a:lnTo>
                  <a:lnTo>
                    <a:pt x="189" y="24"/>
                  </a:lnTo>
                  <a:lnTo>
                    <a:pt x="203" y="19"/>
                  </a:lnTo>
                  <a:lnTo>
                    <a:pt x="218" y="14"/>
                  </a:lnTo>
                  <a:lnTo>
                    <a:pt x="233" y="9"/>
                  </a:lnTo>
                  <a:lnTo>
                    <a:pt x="248" y="6"/>
                  </a:lnTo>
                  <a:lnTo>
                    <a:pt x="262" y="3"/>
                  </a:lnTo>
                  <a:lnTo>
                    <a:pt x="279" y="1"/>
                  </a:lnTo>
                  <a:lnTo>
                    <a:pt x="294" y="0"/>
                  </a:lnTo>
                  <a:lnTo>
                    <a:pt x="310" y="0"/>
                  </a:lnTo>
                  <a:lnTo>
                    <a:pt x="326" y="0"/>
                  </a:lnTo>
                  <a:lnTo>
                    <a:pt x="342" y="1"/>
                  </a:lnTo>
                  <a:lnTo>
                    <a:pt x="358" y="3"/>
                  </a:lnTo>
                  <a:lnTo>
                    <a:pt x="373" y="6"/>
                  </a:lnTo>
                  <a:lnTo>
                    <a:pt x="387" y="9"/>
                  </a:lnTo>
                  <a:lnTo>
                    <a:pt x="403" y="14"/>
                  </a:lnTo>
                  <a:lnTo>
                    <a:pt x="417" y="19"/>
                  </a:lnTo>
                  <a:lnTo>
                    <a:pt x="431" y="24"/>
                  </a:lnTo>
                  <a:lnTo>
                    <a:pt x="445" y="31"/>
                  </a:lnTo>
                  <a:lnTo>
                    <a:pt x="458" y="37"/>
                  </a:lnTo>
                  <a:lnTo>
                    <a:pt x="471" y="45"/>
                  </a:lnTo>
                  <a:lnTo>
                    <a:pt x="484" y="53"/>
                  </a:lnTo>
                  <a:lnTo>
                    <a:pt x="496" y="62"/>
                  </a:lnTo>
                  <a:lnTo>
                    <a:pt x="507" y="71"/>
                  </a:lnTo>
                  <a:lnTo>
                    <a:pt x="518" y="80"/>
                  </a:lnTo>
                  <a:lnTo>
                    <a:pt x="530" y="90"/>
                  </a:lnTo>
                  <a:lnTo>
                    <a:pt x="540" y="102"/>
                  </a:lnTo>
                  <a:lnTo>
                    <a:pt x="550" y="113"/>
                  </a:lnTo>
                  <a:lnTo>
                    <a:pt x="560" y="124"/>
                  </a:lnTo>
                  <a:lnTo>
                    <a:pt x="568" y="137"/>
                  </a:lnTo>
                  <a:lnTo>
                    <a:pt x="576" y="150"/>
                  </a:lnTo>
                  <a:lnTo>
                    <a:pt x="583" y="162"/>
                  </a:lnTo>
                  <a:lnTo>
                    <a:pt x="590" y="175"/>
                  </a:lnTo>
                  <a:lnTo>
                    <a:pt x="596" y="190"/>
                  </a:lnTo>
                  <a:lnTo>
                    <a:pt x="602" y="204"/>
                  </a:lnTo>
                  <a:lnTo>
                    <a:pt x="607" y="219"/>
                  </a:lnTo>
                  <a:lnTo>
                    <a:pt x="611" y="233"/>
                  </a:lnTo>
                  <a:lnTo>
                    <a:pt x="615" y="248"/>
                  </a:lnTo>
                  <a:lnTo>
                    <a:pt x="617" y="264"/>
                  </a:lnTo>
                  <a:lnTo>
                    <a:pt x="619" y="279"/>
                  </a:lnTo>
                  <a:lnTo>
                    <a:pt x="620" y="294"/>
                  </a:lnTo>
                  <a:lnTo>
                    <a:pt x="621" y="311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 lang="en-US">
                <a:ea typeface="ＭＳ Ｐゴシック" pitchFamily="31" charset="-128"/>
              </a:endParaRPr>
            </a:p>
          </p:txBody>
        </p:sp>
      </p:grpSp>
      <p:grpSp>
        <p:nvGrpSpPr>
          <p:cNvPr id="5" name="Group 13"/>
          <p:cNvGrpSpPr>
            <a:grpSpLocks/>
          </p:cNvGrpSpPr>
          <p:nvPr/>
        </p:nvGrpSpPr>
        <p:grpSpPr bwMode="auto">
          <a:xfrm rot="453973">
            <a:off x="4046115" y="3463477"/>
            <a:ext cx="1284834" cy="1315422"/>
            <a:chOff x="4426" y="3301"/>
            <a:chExt cx="696" cy="699"/>
          </a:xfrm>
        </p:grpSpPr>
        <p:sp>
          <p:nvSpPr>
            <p:cNvPr id="38" name="Freeform 50"/>
            <p:cNvSpPr>
              <a:spLocks noEditPoints="1"/>
            </p:cNvSpPr>
            <p:nvPr/>
          </p:nvSpPr>
          <p:spPr bwMode="auto">
            <a:xfrm>
              <a:off x="4426" y="3301"/>
              <a:ext cx="696" cy="699"/>
            </a:xfrm>
            <a:custGeom>
              <a:avLst/>
              <a:gdLst>
                <a:gd name="T0" fmla="*/ 858 w 1392"/>
                <a:gd name="T1" fmla="*/ 805 h 1399"/>
                <a:gd name="T2" fmla="*/ 726 w 1392"/>
                <a:gd name="T3" fmla="*/ 893 h 1399"/>
                <a:gd name="T4" fmla="*/ 584 w 1392"/>
                <a:gd name="T5" fmla="*/ 871 h 1399"/>
                <a:gd name="T6" fmla="*/ 482 w 1392"/>
                <a:gd name="T7" fmla="*/ 749 h 1399"/>
                <a:gd name="T8" fmla="*/ 490 w 1392"/>
                <a:gd name="T9" fmla="*/ 605 h 1399"/>
                <a:gd name="T10" fmla="*/ 601 w 1392"/>
                <a:gd name="T11" fmla="*/ 493 h 1399"/>
                <a:gd name="T12" fmla="*/ 746 w 1392"/>
                <a:gd name="T13" fmla="*/ 486 h 1399"/>
                <a:gd name="T14" fmla="*/ 868 w 1392"/>
                <a:gd name="T15" fmla="*/ 586 h 1399"/>
                <a:gd name="T16" fmla="*/ 1392 w 1392"/>
                <a:gd name="T17" fmla="*/ 730 h 1399"/>
                <a:gd name="T18" fmla="*/ 1281 w 1392"/>
                <a:gd name="T19" fmla="*/ 682 h 1399"/>
                <a:gd name="T20" fmla="*/ 1323 w 1392"/>
                <a:gd name="T21" fmla="*/ 602 h 1399"/>
                <a:gd name="T22" fmla="*/ 1384 w 1392"/>
                <a:gd name="T23" fmla="*/ 542 h 1399"/>
                <a:gd name="T24" fmla="*/ 1283 w 1392"/>
                <a:gd name="T25" fmla="*/ 456 h 1399"/>
                <a:gd name="T26" fmla="*/ 1196 w 1392"/>
                <a:gd name="T27" fmla="*/ 400 h 1399"/>
                <a:gd name="T28" fmla="*/ 1251 w 1392"/>
                <a:gd name="T29" fmla="*/ 315 h 1399"/>
                <a:gd name="T30" fmla="*/ 1216 w 1392"/>
                <a:gd name="T31" fmla="*/ 239 h 1399"/>
                <a:gd name="T32" fmla="*/ 1096 w 1392"/>
                <a:gd name="T33" fmla="*/ 264 h 1399"/>
                <a:gd name="T34" fmla="*/ 1060 w 1392"/>
                <a:gd name="T35" fmla="*/ 208 h 1399"/>
                <a:gd name="T36" fmla="*/ 1064 w 1392"/>
                <a:gd name="T37" fmla="*/ 95 h 1399"/>
                <a:gd name="T38" fmla="*/ 959 w 1392"/>
                <a:gd name="T39" fmla="*/ 87 h 1399"/>
                <a:gd name="T40" fmla="*/ 844 w 1392"/>
                <a:gd name="T41" fmla="*/ 135 h 1399"/>
                <a:gd name="T42" fmla="*/ 820 w 1392"/>
                <a:gd name="T43" fmla="*/ 38 h 1399"/>
                <a:gd name="T44" fmla="*/ 724 w 1392"/>
                <a:gd name="T45" fmla="*/ 0 h 1399"/>
                <a:gd name="T46" fmla="*/ 675 w 1392"/>
                <a:gd name="T47" fmla="*/ 109 h 1399"/>
                <a:gd name="T48" fmla="*/ 608 w 1392"/>
                <a:gd name="T49" fmla="*/ 91 h 1399"/>
                <a:gd name="T50" fmla="*/ 537 w 1392"/>
                <a:gd name="T51" fmla="*/ 16 h 1399"/>
                <a:gd name="T52" fmla="*/ 452 w 1392"/>
                <a:gd name="T53" fmla="*/ 133 h 1399"/>
                <a:gd name="T54" fmla="*/ 397 w 1392"/>
                <a:gd name="T55" fmla="*/ 190 h 1399"/>
                <a:gd name="T56" fmla="*/ 298 w 1392"/>
                <a:gd name="T57" fmla="*/ 132 h 1399"/>
                <a:gd name="T58" fmla="*/ 231 w 1392"/>
                <a:gd name="T59" fmla="*/ 186 h 1399"/>
                <a:gd name="T60" fmla="*/ 270 w 1392"/>
                <a:gd name="T61" fmla="*/ 301 h 1399"/>
                <a:gd name="T62" fmla="*/ 191 w 1392"/>
                <a:gd name="T63" fmla="*/ 322 h 1399"/>
                <a:gd name="T64" fmla="*/ 97 w 1392"/>
                <a:gd name="T65" fmla="*/ 322 h 1399"/>
                <a:gd name="T66" fmla="*/ 98 w 1392"/>
                <a:gd name="T67" fmla="*/ 441 h 1399"/>
                <a:gd name="T68" fmla="*/ 133 w 1392"/>
                <a:gd name="T69" fmla="*/ 539 h 1399"/>
                <a:gd name="T70" fmla="*/ 35 w 1392"/>
                <a:gd name="T71" fmla="*/ 564 h 1399"/>
                <a:gd name="T72" fmla="*/ 0 w 1392"/>
                <a:gd name="T73" fmla="*/ 654 h 1399"/>
                <a:gd name="T74" fmla="*/ 99 w 1392"/>
                <a:gd name="T75" fmla="*/ 705 h 1399"/>
                <a:gd name="T76" fmla="*/ 81 w 1392"/>
                <a:gd name="T77" fmla="*/ 790 h 1399"/>
                <a:gd name="T78" fmla="*/ 29 w 1392"/>
                <a:gd name="T79" fmla="*/ 917 h 1399"/>
                <a:gd name="T80" fmla="*/ 148 w 1392"/>
                <a:gd name="T81" fmla="*/ 940 h 1399"/>
                <a:gd name="T82" fmla="*/ 162 w 1392"/>
                <a:gd name="T83" fmla="*/ 1022 h 1399"/>
                <a:gd name="T84" fmla="*/ 126 w 1392"/>
                <a:gd name="T85" fmla="*/ 1106 h 1399"/>
                <a:gd name="T86" fmla="*/ 258 w 1392"/>
                <a:gd name="T87" fmla="*/ 1145 h 1399"/>
                <a:gd name="T88" fmla="*/ 328 w 1392"/>
                <a:gd name="T89" fmla="*/ 1172 h 1399"/>
                <a:gd name="T90" fmla="*/ 312 w 1392"/>
                <a:gd name="T91" fmla="*/ 1297 h 1399"/>
                <a:gd name="T92" fmla="*/ 431 w 1392"/>
                <a:gd name="T93" fmla="*/ 1301 h 1399"/>
                <a:gd name="T94" fmla="*/ 542 w 1392"/>
                <a:gd name="T95" fmla="*/ 1270 h 1399"/>
                <a:gd name="T96" fmla="*/ 573 w 1392"/>
                <a:gd name="T97" fmla="*/ 1375 h 1399"/>
                <a:gd name="T98" fmla="*/ 656 w 1392"/>
                <a:gd name="T99" fmla="*/ 1398 h 1399"/>
                <a:gd name="T100" fmla="*/ 707 w 1392"/>
                <a:gd name="T101" fmla="*/ 1301 h 1399"/>
                <a:gd name="T102" fmla="*/ 789 w 1392"/>
                <a:gd name="T103" fmla="*/ 1318 h 1399"/>
                <a:gd name="T104" fmla="*/ 846 w 1392"/>
                <a:gd name="T105" fmla="*/ 1386 h 1399"/>
                <a:gd name="T106" fmla="*/ 937 w 1392"/>
                <a:gd name="T107" fmla="*/ 1309 h 1399"/>
                <a:gd name="T108" fmla="*/ 993 w 1392"/>
                <a:gd name="T109" fmla="*/ 1209 h 1399"/>
                <a:gd name="T110" fmla="*/ 1076 w 1392"/>
                <a:gd name="T111" fmla="*/ 1266 h 1399"/>
                <a:gd name="T112" fmla="*/ 1153 w 1392"/>
                <a:gd name="T113" fmla="*/ 1222 h 1399"/>
                <a:gd name="T114" fmla="*/ 1125 w 1392"/>
                <a:gd name="T115" fmla="*/ 1103 h 1399"/>
                <a:gd name="T116" fmla="*/ 1209 w 1392"/>
                <a:gd name="T117" fmla="*/ 1078 h 1399"/>
                <a:gd name="T118" fmla="*/ 1323 w 1392"/>
                <a:gd name="T119" fmla="*/ 1018 h 1399"/>
                <a:gd name="T120" fmla="*/ 1251 w 1392"/>
                <a:gd name="T121" fmla="*/ 919 h 1399"/>
                <a:gd name="T122" fmla="*/ 1297 w 1392"/>
                <a:gd name="T123" fmla="*/ 847 h 1399"/>
                <a:gd name="T124" fmla="*/ 1392 w 1392"/>
                <a:gd name="T125" fmla="*/ 799 h 139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92"/>
                <a:gd name="T190" fmla="*/ 0 h 1399"/>
                <a:gd name="T191" fmla="*/ 1392 w 1392"/>
                <a:gd name="T192" fmla="*/ 1399 h 139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92" h="1399">
                  <a:moveTo>
                    <a:pt x="894" y="687"/>
                  </a:moveTo>
                  <a:lnTo>
                    <a:pt x="894" y="687"/>
                  </a:lnTo>
                  <a:lnTo>
                    <a:pt x="892" y="708"/>
                  </a:lnTo>
                  <a:lnTo>
                    <a:pt x="889" y="729"/>
                  </a:lnTo>
                  <a:lnTo>
                    <a:pt x="884" y="749"/>
                  </a:lnTo>
                  <a:lnTo>
                    <a:pt x="877" y="769"/>
                  </a:lnTo>
                  <a:lnTo>
                    <a:pt x="868" y="787"/>
                  </a:lnTo>
                  <a:lnTo>
                    <a:pt x="858" y="805"/>
                  </a:lnTo>
                  <a:lnTo>
                    <a:pt x="845" y="821"/>
                  </a:lnTo>
                  <a:lnTo>
                    <a:pt x="832" y="835"/>
                  </a:lnTo>
                  <a:lnTo>
                    <a:pt x="818" y="849"/>
                  </a:lnTo>
                  <a:lnTo>
                    <a:pt x="801" y="861"/>
                  </a:lnTo>
                  <a:lnTo>
                    <a:pt x="784" y="871"/>
                  </a:lnTo>
                  <a:lnTo>
                    <a:pt x="765" y="880"/>
                  </a:lnTo>
                  <a:lnTo>
                    <a:pt x="746" y="888"/>
                  </a:lnTo>
                  <a:lnTo>
                    <a:pt x="726" y="893"/>
                  </a:lnTo>
                  <a:lnTo>
                    <a:pt x="705" y="896"/>
                  </a:lnTo>
                  <a:lnTo>
                    <a:pt x="683" y="897"/>
                  </a:lnTo>
                  <a:lnTo>
                    <a:pt x="662" y="896"/>
                  </a:lnTo>
                  <a:lnTo>
                    <a:pt x="641" y="893"/>
                  </a:lnTo>
                  <a:lnTo>
                    <a:pt x="621" y="888"/>
                  </a:lnTo>
                  <a:lnTo>
                    <a:pt x="601" y="880"/>
                  </a:lnTo>
                  <a:lnTo>
                    <a:pt x="584" y="871"/>
                  </a:lnTo>
                  <a:lnTo>
                    <a:pt x="567" y="861"/>
                  </a:lnTo>
                  <a:lnTo>
                    <a:pt x="550" y="849"/>
                  </a:lnTo>
                  <a:lnTo>
                    <a:pt x="535" y="835"/>
                  </a:lnTo>
                  <a:lnTo>
                    <a:pt x="521" y="821"/>
                  </a:lnTo>
                  <a:lnTo>
                    <a:pt x="509" y="805"/>
                  </a:lnTo>
                  <a:lnTo>
                    <a:pt x="499" y="787"/>
                  </a:lnTo>
                  <a:lnTo>
                    <a:pt x="490" y="769"/>
                  </a:lnTo>
                  <a:lnTo>
                    <a:pt x="482" y="749"/>
                  </a:lnTo>
                  <a:lnTo>
                    <a:pt x="477" y="729"/>
                  </a:lnTo>
                  <a:lnTo>
                    <a:pt x="474" y="708"/>
                  </a:lnTo>
                  <a:lnTo>
                    <a:pt x="473" y="687"/>
                  </a:lnTo>
                  <a:lnTo>
                    <a:pt x="474" y="665"/>
                  </a:lnTo>
                  <a:lnTo>
                    <a:pt x="477" y="645"/>
                  </a:lnTo>
                  <a:lnTo>
                    <a:pt x="482" y="624"/>
                  </a:lnTo>
                  <a:lnTo>
                    <a:pt x="490" y="605"/>
                  </a:lnTo>
                  <a:lnTo>
                    <a:pt x="499" y="586"/>
                  </a:lnTo>
                  <a:lnTo>
                    <a:pt x="509" y="570"/>
                  </a:lnTo>
                  <a:lnTo>
                    <a:pt x="521" y="553"/>
                  </a:lnTo>
                  <a:lnTo>
                    <a:pt x="535" y="538"/>
                  </a:lnTo>
                  <a:lnTo>
                    <a:pt x="550" y="525"/>
                  </a:lnTo>
                  <a:lnTo>
                    <a:pt x="567" y="512"/>
                  </a:lnTo>
                  <a:lnTo>
                    <a:pt x="584" y="502"/>
                  </a:lnTo>
                  <a:lnTo>
                    <a:pt x="601" y="493"/>
                  </a:lnTo>
                  <a:lnTo>
                    <a:pt x="621" y="486"/>
                  </a:lnTo>
                  <a:lnTo>
                    <a:pt x="641" y="481"/>
                  </a:lnTo>
                  <a:lnTo>
                    <a:pt x="662" y="478"/>
                  </a:lnTo>
                  <a:lnTo>
                    <a:pt x="683" y="477"/>
                  </a:lnTo>
                  <a:lnTo>
                    <a:pt x="705" y="478"/>
                  </a:lnTo>
                  <a:lnTo>
                    <a:pt x="726" y="481"/>
                  </a:lnTo>
                  <a:lnTo>
                    <a:pt x="746" y="486"/>
                  </a:lnTo>
                  <a:lnTo>
                    <a:pt x="765" y="493"/>
                  </a:lnTo>
                  <a:lnTo>
                    <a:pt x="784" y="502"/>
                  </a:lnTo>
                  <a:lnTo>
                    <a:pt x="801" y="512"/>
                  </a:lnTo>
                  <a:lnTo>
                    <a:pt x="818" y="525"/>
                  </a:lnTo>
                  <a:lnTo>
                    <a:pt x="832" y="538"/>
                  </a:lnTo>
                  <a:lnTo>
                    <a:pt x="845" y="553"/>
                  </a:lnTo>
                  <a:lnTo>
                    <a:pt x="858" y="570"/>
                  </a:lnTo>
                  <a:lnTo>
                    <a:pt x="868" y="586"/>
                  </a:lnTo>
                  <a:lnTo>
                    <a:pt x="877" y="605"/>
                  </a:lnTo>
                  <a:lnTo>
                    <a:pt x="884" y="624"/>
                  </a:lnTo>
                  <a:lnTo>
                    <a:pt x="889" y="645"/>
                  </a:lnTo>
                  <a:lnTo>
                    <a:pt x="892" y="665"/>
                  </a:lnTo>
                  <a:lnTo>
                    <a:pt x="894" y="687"/>
                  </a:lnTo>
                  <a:close/>
                  <a:moveTo>
                    <a:pt x="1392" y="730"/>
                  </a:moveTo>
                  <a:lnTo>
                    <a:pt x="1392" y="730"/>
                  </a:lnTo>
                  <a:lnTo>
                    <a:pt x="1376" y="717"/>
                  </a:lnTo>
                  <a:lnTo>
                    <a:pt x="1361" y="708"/>
                  </a:lnTo>
                  <a:lnTo>
                    <a:pt x="1346" y="700"/>
                  </a:lnTo>
                  <a:lnTo>
                    <a:pt x="1330" y="693"/>
                  </a:lnTo>
                  <a:lnTo>
                    <a:pt x="1317" y="689"/>
                  </a:lnTo>
                  <a:lnTo>
                    <a:pt x="1304" y="686"/>
                  </a:lnTo>
                  <a:lnTo>
                    <a:pt x="1291" y="683"/>
                  </a:lnTo>
                  <a:lnTo>
                    <a:pt x="1281" y="682"/>
                  </a:lnTo>
                  <a:lnTo>
                    <a:pt x="1279" y="652"/>
                  </a:lnTo>
                  <a:lnTo>
                    <a:pt x="1276" y="623"/>
                  </a:lnTo>
                  <a:lnTo>
                    <a:pt x="1285" y="620"/>
                  </a:lnTo>
                  <a:lnTo>
                    <a:pt x="1295" y="616"/>
                  </a:lnTo>
                  <a:lnTo>
                    <a:pt x="1309" y="610"/>
                  </a:lnTo>
                  <a:lnTo>
                    <a:pt x="1323" y="602"/>
                  </a:lnTo>
                  <a:lnTo>
                    <a:pt x="1338" y="590"/>
                  </a:lnTo>
                  <a:lnTo>
                    <a:pt x="1354" y="577"/>
                  </a:lnTo>
                  <a:lnTo>
                    <a:pt x="1369" y="562"/>
                  </a:lnTo>
                  <a:lnTo>
                    <a:pt x="1376" y="551"/>
                  </a:lnTo>
                  <a:lnTo>
                    <a:pt x="1384" y="542"/>
                  </a:lnTo>
                  <a:lnTo>
                    <a:pt x="1384" y="541"/>
                  </a:lnTo>
                  <a:lnTo>
                    <a:pt x="1366" y="475"/>
                  </a:lnTo>
                  <a:lnTo>
                    <a:pt x="1352" y="469"/>
                  </a:lnTo>
                  <a:lnTo>
                    <a:pt x="1336" y="465"/>
                  </a:lnTo>
                  <a:lnTo>
                    <a:pt x="1317" y="461"/>
                  </a:lnTo>
                  <a:lnTo>
                    <a:pt x="1295" y="457"/>
                  </a:lnTo>
                  <a:lnTo>
                    <a:pt x="1283" y="456"/>
                  </a:lnTo>
                  <a:lnTo>
                    <a:pt x="1272" y="455"/>
                  </a:lnTo>
                  <a:lnTo>
                    <a:pt x="1260" y="455"/>
                  </a:lnTo>
                  <a:lnTo>
                    <a:pt x="1249" y="456"/>
                  </a:lnTo>
                  <a:lnTo>
                    <a:pt x="1239" y="457"/>
                  </a:lnTo>
                  <a:lnTo>
                    <a:pt x="1229" y="460"/>
                  </a:lnTo>
                  <a:lnTo>
                    <a:pt x="1213" y="429"/>
                  </a:lnTo>
                  <a:lnTo>
                    <a:pt x="1196" y="400"/>
                  </a:lnTo>
                  <a:lnTo>
                    <a:pt x="1203" y="393"/>
                  </a:lnTo>
                  <a:lnTo>
                    <a:pt x="1211" y="383"/>
                  </a:lnTo>
                  <a:lnTo>
                    <a:pt x="1221" y="373"/>
                  </a:lnTo>
                  <a:lnTo>
                    <a:pt x="1229" y="361"/>
                  </a:lnTo>
                  <a:lnTo>
                    <a:pt x="1237" y="347"/>
                  </a:lnTo>
                  <a:lnTo>
                    <a:pt x="1244" y="332"/>
                  </a:lnTo>
                  <a:lnTo>
                    <a:pt x="1251" y="315"/>
                  </a:lnTo>
                  <a:lnTo>
                    <a:pt x="1256" y="295"/>
                  </a:lnTo>
                  <a:lnTo>
                    <a:pt x="1216" y="239"/>
                  </a:lnTo>
                  <a:lnTo>
                    <a:pt x="1205" y="238"/>
                  </a:lnTo>
                  <a:lnTo>
                    <a:pt x="1193" y="238"/>
                  </a:lnTo>
                  <a:lnTo>
                    <a:pt x="1171" y="239"/>
                  </a:lnTo>
                  <a:lnTo>
                    <a:pt x="1152" y="243"/>
                  </a:lnTo>
                  <a:lnTo>
                    <a:pt x="1134" y="247"/>
                  </a:lnTo>
                  <a:lnTo>
                    <a:pt x="1120" y="252"/>
                  </a:lnTo>
                  <a:lnTo>
                    <a:pt x="1107" y="258"/>
                  </a:lnTo>
                  <a:lnTo>
                    <a:pt x="1096" y="264"/>
                  </a:lnTo>
                  <a:lnTo>
                    <a:pt x="1087" y="270"/>
                  </a:lnTo>
                  <a:lnTo>
                    <a:pt x="1068" y="252"/>
                  </a:lnTo>
                  <a:lnTo>
                    <a:pt x="1047" y="237"/>
                  </a:lnTo>
                  <a:lnTo>
                    <a:pt x="1050" y="231"/>
                  </a:lnTo>
                  <a:lnTo>
                    <a:pt x="1055" y="221"/>
                  </a:lnTo>
                  <a:lnTo>
                    <a:pt x="1060" y="208"/>
                  </a:lnTo>
                  <a:lnTo>
                    <a:pt x="1065" y="192"/>
                  </a:lnTo>
                  <a:lnTo>
                    <a:pt x="1068" y="172"/>
                  </a:lnTo>
                  <a:lnTo>
                    <a:pt x="1069" y="161"/>
                  </a:lnTo>
                  <a:lnTo>
                    <a:pt x="1070" y="149"/>
                  </a:lnTo>
                  <a:lnTo>
                    <a:pt x="1070" y="136"/>
                  </a:lnTo>
                  <a:lnTo>
                    <a:pt x="1069" y="123"/>
                  </a:lnTo>
                  <a:lnTo>
                    <a:pt x="1067" y="110"/>
                  </a:lnTo>
                  <a:lnTo>
                    <a:pt x="1064" y="95"/>
                  </a:lnTo>
                  <a:lnTo>
                    <a:pt x="1002" y="64"/>
                  </a:lnTo>
                  <a:lnTo>
                    <a:pt x="990" y="69"/>
                  </a:lnTo>
                  <a:lnTo>
                    <a:pt x="979" y="75"/>
                  </a:lnTo>
                  <a:lnTo>
                    <a:pt x="968" y="80"/>
                  </a:lnTo>
                  <a:lnTo>
                    <a:pt x="959" y="87"/>
                  </a:lnTo>
                  <a:lnTo>
                    <a:pt x="943" y="99"/>
                  </a:lnTo>
                  <a:lnTo>
                    <a:pt x="928" y="113"/>
                  </a:lnTo>
                  <a:lnTo>
                    <a:pt x="918" y="126"/>
                  </a:lnTo>
                  <a:lnTo>
                    <a:pt x="909" y="137"/>
                  </a:lnTo>
                  <a:lnTo>
                    <a:pt x="903" y="148"/>
                  </a:lnTo>
                  <a:lnTo>
                    <a:pt x="899" y="155"/>
                  </a:lnTo>
                  <a:lnTo>
                    <a:pt x="844" y="135"/>
                  </a:lnTo>
                  <a:lnTo>
                    <a:pt x="844" y="124"/>
                  </a:lnTo>
                  <a:lnTo>
                    <a:pt x="843" y="111"/>
                  </a:lnTo>
                  <a:lnTo>
                    <a:pt x="840" y="93"/>
                  </a:lnTo>
                  <a:lnTo>
                    <a:pt x="835" y="73"/>
                  </a:lnTo>
                  <a:lnTo>
                    <a:pt x="831" y="62"/>
                  </a:lnTo>
                  <a:lnTo>
                    <a:pt x="826" y="50"/>
                  </a:lnTo>
                  <a:lnTo>
                    <a:pt x="820" y="38"/>
                  </a:lnTo>
                  <a:lnTo>
                    <a:pt x="813" y="26"/>
                  </a:lnTo>
                  <a:lnTo>
                    <a:pt x="804" y="13"/>
                  </a:lnTo>
                  <a:lnTo>
                    <a:pt x="794" y="1"/>
                  </a:lnTo>
                  <a:lnTo>
                    <a:pt x="724" y="0"/>
                  </a:lnTo>
                  <a:lnTo>
                    <a:pt x="711" y="18"/>
                  </a:lnTo>
                  <a:lnTo>
                    <a:pt x="700" y="35"/>
                  </a:lnTo>
                  <a:lnTo>
                    <a:pt x="692" y="52"/>
                  </a:lnTo>
                  <a:lnTo>
                    <a:pt x="685" y="69"/>
                  </a:lnTo>
                  <a:lnTo>
                    <a:pt x="680" y="83"/>
                  </a:lnTo>
                  <a:lnTo>
                    <a:pt x="677" y="97"/>
                  </a:lnTo>
                  <a:lnTo>
                    <a:pt x="675" y="109"/>
                  </a:lnTo>
                  <a:lnTo>
                    <a:pt x="675" y="119"/>
                  </a:lnTo>
                  <a:lnTo>
                    <a:pt x="648" y="121"/>
                  </a:lnTo>
                  <a:lnTo>
                    <a:pt x="622" y="123"/>
                  </a:lnTo>
                  <a:lnTo>
                    <a:pt x="619" y="115"/>
                  </a:lnTo>
                  <a:lnTo>
                    <a:pt x="614" y="104"/>
                  </a:lnTo>
                  <a:lnTo>
                    <a:pt x="608" y="91"/>
                  </a:lnTo>
                  <a:lnTo>
                    <a:pt x="599" y="77"/>
                  </a:lnTo>
                  <a:lnTo>
                    <a:pt x="588" y="62"/>
                  </a:lnTo>
                  <a:lnTo>
                    <a:pt x="574" y="46"/>
                  </a:lnTo>
                  <a:lnTo>
                    <a:pt x="566" y="39"/>
                  </a:lnTo>
                  <a:lnTo>
                    <a:pt x="557" y="31"/>
                  </a:lnTo>
                  <a:lnTo>
                    <a:pt x="547" y="24"/>
                  </a:lnTo>
                  <a:lnTo>
                    <a:pt x="537" y="16"/>
                  </a:lnTo>
                  <a:lnTo>
                    <a:pt x="470" y="36"/>
                  </a:lnTo>
                  <a:lnTo>
                    <a:pt x="465" y="47"/>
                  </a:lnTo>
                  <a:lnTo>
                    <a:pt x="462" y="58"/>
                  </a:lnTo>
                  <a:lnTo>
                    <a:pt x="456" y="79"/>
                  </a:lnTo>
                  <a:lnTo>
                    <a:pt x="453" y="99"/>
                  </a:lnTo>
                  <a:lnTo>
                    <a:pt x="452" y="117"/>
                  </a:lnTo>
                  <a:lnTo>
                    <a:pt x="452" y="133"/>
                  </a:lnTo>
                  <a:lnTo>
                    <a:pt x="454" y="148"/>
                  </a:lnTo>
                  <a:lnTo>
                    <a:pt x="456" y="160"/>
                  </a:lnTo>
                  <a:lnTo>
                    <a:pt x="458" y="169"/>
                  </a:lnTo>
                  <a:lnTo>
                    <a:pt x="430" y="182"/>
                  </a:lnTo>
                  <a:lnTo>
                    <a:pt x="404" y="197"/>
                  </a:lnTo>
                  <a:lnTo>
                    <a:pt x="397" y="190"/>
                  </a:lnTo>
                  <a:lnTo>
                    <a:pt x="389" y="181"/>
                  </a:lnTo>
                  <a:lnTo>
                    <a:pt x="378" y="172"/>
                  </a:lnTo>
                  <a:lnTo>
                    <a:pt x="365" y="162"/>
                  </a:lnTo>
                  <a:lnTo>
                    <a:pt x="349" y="153"/>
                  </a:lnTo>
                  <a:lnTo>
                    <a:pt x="331" y="143"/>
                  </a:lnTo>
                  <a:lnTo>
                    <a:pt x="321" y="139"/>
                  </a:lnTo>
                  <a:lnTo>
                    <a:pt x="309" y="136"/>
                  </a:lnTo>
                  <a:lnTo>
                    <a:pt x="298" y="132"/>
                  </a:lnTo>
                  <a:lnTo>
                    <a:pt x="286" y="130"/>
                  </a:lnTo>
                  <a:lnTo>
                    <a:pt x="231" y="173"/>
                  </a:lnTo>
                  <a:lnTo>
                    <a:pt x="231" y="186"/>
                  </a:lnTo>
                  <a:lnTo>
                    <a:pt x="232" y="197"/>
                  </a:lnTo>
                  <a:lnTo>
                    <a:pt x="234" y="219"/>
                  </a:lnTo>
                  <a:lnTo>
                    <a:pt x="240" y="239"/>
                  </a:lnTo>
                  <a:lnTo>
                    <a:pt x="245" y="256"/>
                  </a:lnTo>
                  <a:lnTo>
                    <a:pt x="252" y="272"/>
                  </a:lnTo>
                  <a:lnTo>
                    <a:pt x="258" y="284"/>
                  </a:lnTo>
                  <a:lnTo>
                    <a:pt x="265" y="294"/>
                  </a:lnTo>
                  <a:lnTo>
                    <a:pt x="270" y="301"/>
                  </a:lnTo>
                  <a:lnTo>
                    <a:pt x="254" y="320"/>
                  </a:lnTo>
                  <a:lnTo>
                    <a:pt x="237" y="339"/>
                  </a:lnTo>
                  <a:lnTo>
                    <a:pt x="231" y="336"/>
                  </a:lnTo>
                  <a:lnTo>
                    <a:pt x="222" y="331"/>
                  </a:lnTo>
                  <a:lnTo>
                    <a:pt x="209" y="326"/>
                  </a:lnTo>
                  <a:lnTo>
                    <a:pt x="191" y="322"/>
                  </a:lnTo>
                  <a:lnTo>
                    <a:pt x="172" y="318"/>
                  </a:lnTo>
                  <a:lnTo>
                    <a:pt x="162" y="317"/>
                  </a:lnTo>
                  <a:lnTo>
                    <a:pt x="149" y="317"/>
                  </a:lnTo>
                  <a:lnTo>
                    <a:pt x="137" y="317"/>
                  </a:lnTo>
                  <a:lnTo>
                    <a:pt x="125" y="318"/>
                  </a:lnTo>
                  <a:lnTo>
                    <a:pt x="111" y="320"/>
                  </a:lnTo>
                  <a:lnTo>
                    <a:pt x="97" y="322"/>
                  </a:lnTo>
                  <a:lnTo>
                    <a:pt x="65" y="383"/>
                  </a:lnTo>
                  <a:lnTo>
                    <a:pt x="69" y="395"/>
                  </a:lnTo>
                  <a:lnTo>
                    <a:pt x="74" y="405"/>
                  </a:lnTo>
                  <a:lnTo>
                    <a:pt x="87" y="424"/>
                  </a:lnTo>
                  <a:lnTo>
                    <a:pt x="98" y="441"/>
                  </a:lnTo>
                  <a:lnTo>
                    <a:pt x="110" y="454"/>
                  </a:lnTo>
                  <a:lnTo>
                    <a:pt x="123" y="465"/>
                  </a:lnTo>
                  <a:lnTo>
                    <a:pt x="134" y="474"/>
                  </a:lnTo>
                  <a:lnTo>
                    <a:pt x="144" y="481"/>
                  </a:lnTo>
                  <a:lnTo>
                    <a:pt x="152" y="486"/>
                  </a:lnTo>
                  <a:lnTo>
                    <a:pt x="142" y="512"/>
                  </a:lnTo>
                  <a:lnTo>
                    <a:pt x="133" y="539"/>
                  </a:lnTo>
                  <a:lnTo>
                    <a:pt x="125" y="539"/>
                  </a:lnTo>
                  <a:lnTo>
                    <a:pt x="113" y="540"/>
                  </a:lnTo>
                  <a:lnTo>
                    <a:pt x="99" y="541"/>
                  </a:lnTo>
                  <a:lnTo>
                    <a:pt x="83" y="545"/>
                  </a:lnTo>
                  <a:lnTo>
                    <a:pt x="64" y="550"/>
                  </a:lnTo>
                  <a:lnTo>
                    <a:pt x="45" y="559"/>
                  </a:lnTo>
                  <a:lnTo>
                    <a:pt x="35" y="564"/>
                  </a:lnTo>
                  <a:lnTo>
                    <a:pt x="24" y="570"/>
                  </a:lnTo>
                  <a:lnTo>
                    <a:pt x="13" y="577"/>
                  </a:lnTo>
                  <a:lnTo>
                    <a:pt x="3" y="585"/>
                  </a:lnTo>
                  <a:lnTo>
                    <a:pt x="0" y="654"/>
                  </a:lnTo>
                  <a:lnTo>
                    <a:pt x="15" y="667"/>
                  </a:lnTo>
                  <a:lnTo>
                    <a:pt x="30" y="677"/>
                  </a:lnTo>
                  <a:lnTo>
                    <a:pt x="46" y="687"/>
                  </a:lnTo>
                  <a:lnTo>
                    <a:pt x="60" y="694"/>
                  </a:lnTo>
                  <a:lnTo>
                    <a:pt x="74" y="699"/>
                  </a:lnTo>
                  <a:lnTo>
                    <a:pt x="88" y="703"/>
                  </a:lnTo>
                  <a:lnTo>
                    <a:pt x="99" y="705"/>
                  </a:lnTo>
                  <a:lnTo>
                    <a:pt x="109" y="707"/>
                  </a:lnTo>
                  <a:lnTo>
                    <a:pt x="110" y="742"/>
                  </a:lnTo>
                  <a:lnTo>
                    <a:pt x="113" y="775"/>
                  </a:lnTo>
                  <a:lnTo>
                    <a:pt x="104" y="779"/>
                  </a:lnTo>
                  <a:lnTo>
                    <a:pt x="93" y="784"/>
                  </a:lnTo>
                  <a:lnTo>
                    <a:pt x="81" y="790"/>
                  </a:lnTo>
                  <a:lnTo>
                    <a:pt x="67" y="798"/>
                  </a:lnTo>
                  <a:lnTo>
                    <a:pt x="54" y="808"/>
                  </a:lnTo>
                  <a:lnTo>
                    <a:pt x="41" y="820"/>
                  </a:lnTo>
                  <a:lnTo>
                    <a:pt x="27" y="833"/>
                  </a:lnTo>
                  <a:lnTo>
                    <a:pt x="14" y="850"/>
                  </a:lnTo>
                  <a:lnTo>
                    <a:pt x="29" y="917"/>
                  </a:lnTo>
                  <a:lnTo>
                    <a:pt x="50" y="926"/>
                  </a:lnTo>
                  <a:lnTo>
                    <a:pt x="70" y="934"/>
                  </a:lnTo>
                  <a:lnTo>
                    <a:pt x="89" y="938"/>
                  </a:lnTo>
                  <a:lnTo>
                    <a:pt x="106" y="940"/>
                  </a:lnTo>
                  <a:lnTo>
                    <a:pt x="122" y="941"/>
                  </a:lnTo>
                  <a:lnTo>
                    <a:pt x="136" y="941"/>
                  </a:lnTo>
                  <a:lnTo>
                    <a:pt x="148" y="940"/>
                  </a:lnTo>
                  <a:lnTo>
                    <a:pt x="159" y="939"/>
                  </a:lnTo>
                  <a:lnTo>
                    <a:pt x="172" y="966"/>
                  </a:lnTo>
                  <a:lnTo>
                    <a:pt x="186" y="994"/>
                  </a:lnTo>
                  <a:lnTo>
                    <a:pt x="179" y="1001"/>
                  </a:lnTo>
                  <a:lnTo>
                    <a:pt x="171" y="1011"/>
                  </a:lnTo>
                  <a:lnTo>
                    <a:pt x="162" y="1022"/>
                  </a:lnTo>
                  <a:lnTo>
                    <a:pt x="153" y="1034"/>
                  </a:lnTo>
                  <a:lnTo>
                    <a:pt x="145" y="1049"/>
                  </a:lnTo>
                  <a:lnTo>
                    <a:pt x="137" y="1066"/>
                  </a:lnTo>
                  <a:lnTo>
                    <a:pt x="131" y="1085"/>
                  </a:lnTo>
                  <a:lnTo>
                    <a:pt x="126" y="1106"/>
                  </a:lnTo>
                  <a:lnTo>
                    <a:pt x="126" y="1107"/>
                  </a:lnTo>
                  <a:lnTo>
                    <a:pt x="169" y="1160"/>
                  </a:lnTo>
                  <a:lnTo>
                    <a:pt x="190" y="1160"/>
                  </a:lnTo>
                  <a:lnTo>
                    <a:pt x="210" y="1158"/>
                  </a:lnTo>
                  <a:lnTo>
                    <a:pt x="227" y="1155"/>
                  </a:lnTo>
                  <a:lnTo>
                    <a:pt x="244" y="1150"/>
                  </a:lnTo>
                  <a:lnTo>
                    <a:pt x="258" y="1145"/>
                  </a:lnTo>
                  <a:lnTo>
                    <a:pt x="270" y="1139"/>
                  </a:lnTo>
                  <a:lnTo>
                    <a:pt x="282" y="1132"/>
                  </a:lnTo>
                  <a:lnTo>
                    <a:pt x="290" y="1127"/>
                  </a:lnTo>
                  <a:lnTo>
                    <a:pt x="310" y="1147"/>
                  </a:lnTo>
                  <a:lnTo>
                    <a:pt x="333" y="1164"/>
                  </a:lnTo>
                  <a:lnTo>
                    <a:pt x="328" y="1172"/>
                  </a:lnTo>
                  <a:lnTo>
                    <a:pt x="324" y="1184"/>
                  </a:lnTo>
                  <a:lnTo>
                    <a:pt x="318" y="1197"/>
                  </a:lnTo>
                  <a:lnTo>
                    <a:pt x="314" y="1213"/>
                  </a:lnTo>
                  <a:lnTo>
                    <a:pt x="311" y="1231"/>
                  </a:lnTo>
                  <a:lnTo>
                    <a:pt x="309" y="1251"/>
                  </a:lnTo>
                  <a:lnTo>
                    <a:pt x="309" y="1273"/>
                  </a:lnTo>
                  <a:lnTo>
                    <a:pt x="310" y="1285"/>
                  </a:lnTo>
                  <a:lnTo>
                    <a:pt x="312" y="1297"/>
                  </a:lnTo>
                  <a:lnTo>
                    <a:pt x="372" y="1332"/>
                  </a:lnTo>
                  <a:lnTo>
                    <a:pt x="384" y="1328"/>
                  </a:lnTo>
                  <a:lnTo>
                    <a:pt x="395" y="1323"/>
                  </a:lnTo>
                  <a:lnTo>
                    <a:pt x="406" y="1318"/>
                  </a:lnTo>
                  <a:lnTo>
                    <a:pt x="415" y="1313"/>
                  </a:lnTo>
                  <a:lnTo>
                    <a:pt x="431" y="1301"/>
                  </a:lnTo>
                  <a:lnTo>
                    <a:pt x="446" y="1289"/>
                  </a:lnTo>
                  <a:lnTo>
                    <a:pt x="458" y="1277"/>
                  </a:lnTo>
                  <a:lnTo>
                    <a:pt x="467" y="1267"/>
                  </a:lnTo>
                  <a:lnTo>
                    <a:pt x="474" y="1257"/>
                  </a:lnTo>
                  <a:lnTo>
                    <a:pt x="479" y="1249"/>
                  </a:lnTo>
                  <a:lnTo>
                    <a:pt x="510" y="1261"/>
                  </a:lnTo>
                  <a:lnTo>
                    <a:pt x="542" y="1270"/>
                  </a:lnTo>
                  <a:lnTo>
                    <a:pt x="542" y="1280"/>
                  </a:lnTo>
                  <a:lnTo>
                    <a:pt x="543" y="1291"/>
                  </a:lnTo>
                  <a:lnTo>
                    <a:pt x="545" y="1306"/>
                  </a:lnTo>
                  <a:lnTo>
                    <a:pt x="549" y="1322"/>
                  </a:lnTo>
                  <a:lnTo>
                    <a:pt x="554" y="1338"/>
                  </a:lnTo>
                  <a:lnTo>
                    <a:pt x="562" y="1357"/>
                  </a:lnTo>
                  <a:lnTo>
                    <a:pt x="573" y="1375"/>
                  </a:lnTo>
                  <a:lnTo>
                    <a:pt x="579" y="1386"/>
                  </a:lnTo>
                  <a:lnTo>
                    <a:pt x="586" y="1395"/>
                  </a:lnTo>
                  <a:lnTo>
                    <a:pt x="656" y="1399"/>
                  </a:lnTo>
                  <a:lnTo>
                    <a:pt x="656" y="1398"/>
                  </a:lnTo>
                  <a:lnTo>
                    <a:pt x="668" y="1384"/>
                  </a:lnTo>
                  <a:lnTo>
                    <a:pt x="679" y="1368"/>
                  </a:lnTo>
                  <a:lnTo>
                    <a:pt x="689" y="1353"/>
                  </a:lnTo>
                  <a:lnTo>
                    <a:pt x="695" y="1338"/>
                  </a:lnTo>
                  <a:lnTo>
                    <a:pt x="701" y="1325"/>
                  </a:lnTo>
                  <a:lnTo>
                    <a:pt x="705" y="1313"/>
                  </a:lnTo>
                  <a:lnTo>
                    <a:pt x="707" y="1301"/>
                  </a:lnTo>
                  <a:lnTo>
                    <a:pt x="709" y="1290"/>
                  </a:lnTo>
                  <a:lnTo>
                    <a:pt x="742" y="1288"/>
                  </a:lnTo>
                  <a:lnTo>
                    <a:pt x="775" y="1285"/>
                  </a:lnTo>
                  <a:lnTo>
                    <a:pt x="778" y="1295"/>
                  </a:lnTo>
                  <a:lnTo>
                    <a:pt x="783" y="1307"/>
                  </a:lnTo>
                  <a:lnTo>
                    <a:pt x="789" y="1318"/>
                  </a:lnTo>
                  <a:lnTo>
                    <a:pt x="796" y="1331"/>
                  </a:lnTo>
                  <a:lnTo>
                    <a:pt x="805" y="1345"/>
                  </a:lnTo>
                  <a:lnTo>
                    <a:pt x="818" y="1359"/>
                  </a:lnTo>
                  <a:lnTo>
                    <a:pt x="831" y="1372"/>
                  </a:lnTo>
                  <a:lnTo>
                    <a:pt x="846" y="1386"/>
                  </a:lnTo>
                  <a:lnTo>
                    <a:pt x="915" y="1371"/>
                  </a:lnTo>
                  <a:lnTo>
                    <a:pt x="920" y="1360"/>
                  </a:lnTo>
                  <a:lnTo>
                    <a:pt x="925" y="1350"/>
                  </a:lnTo>
                  <a:lnTo>
                    <a:pt x="932" y="1328"/>
                  </a:lnTo>
                  <a:lnTo>
                    <a:pt x="937" y="1309"/>
                  </a:lnTo>
                  <a:lnTo>
                    <a:pt x="940" y="1290"/>
                  </a:lnTo>
                  <a:lnTo>
                    <a:pt x="941" y="1274"/>
                  </a:lnTo>
                  <a:lnTo>
                    <a:pt x="940" y="1260"/>
                  </a:lnTo>
                  <a:lnTo>
                    <a:pt x="939" y="1247"/>
                  </a:lnTo>
                  <a:lnTo>
                    <a:pt x="938" y="1238"/>
                  </a:lnTo>
                  <a:lnTo>
                    <a:pt x="965" y="1225"/>
                  </a:lnTo>
                  <a:lnTo>
                    <a:pt x="993" y="1209"/>
                  </a:lnTo>
                  <a:lnTo>
                    <a:pt x="1000" y="1217"/>
                  </a:lnTo>
                  <a:lnTo>
                    <a:pt x="1009" y="1226"/>
                  </a:lnTo>
                  <a:lnTo>
                    <a:pt x="1020" y="1234"/>
                  </a:lnTo>
                  <a:lnTo>
                    <a:pt x="1031" y="1242"/>
                  </a:lnTo>
                  <a:lnTo>
                    <a:pt x="1044" y="1251"/>
                  </a:lnTo>
                  <a:lnTo>
                    <a:pt x="1059" y="1259"/>
                  </a:lnTo>
                  <a:lnTo>
                    <a:pt x="1076" y="1266"/>
                  </a:lnTo>
                  <a:lnTo>
                    <a:pt x="1094" y="1272"/>
                  </a:lnTo>
                  <a:lnTo>
                    <a:pt x="1152" y="1234"/>
                  </a:lnTo>
                  <a:lnTo>
                    <a:pt x="1153" y="1222"/>
                  </a:lnTo>
                  <a:lnTo>
                    <a:pt x="1154" y="1210"/>
                  </a:lnTo>
                  <a:lnTo>
                    <a:pt x="1153" y="1188"/>
                  </a:lnTo>
                  <a:lnTo>
                    <a:pt x="1150" y="1168"/>
                  </a:lnTo>
                  <a:lnTo>
                    <a:pt x="1146" y="1151"/>
                  </a:lnTo>
                  <a:lnTo>
                    <a:pt x="1141" y="1136"/>
                  </a:lnTo>
                  <a:lnTo>
                    <a:pt x="1135" y="1122"/>
                  </a:lnTo>
                  <a:lnTo>
                    <a:pt x="1130" y="1111"/>
                  </a:lnTo>
                  <a:lnTo>
                    <a:pt x="1125" y="1103"/>
                  </a:lnTo>
                  <a:lnTo>
                    <a:pt x="1143" y="1082"/>
                  </a:lnTo>
                  <a:lnTo>
                    <a:pt x="1160" y="1062"/>
                  </a:lnTo>
                  <a:lnTo>
                    <a:pt x="1169" y="1066"/>
                  </a:lnTo>
                  <a:lnTo>
                    <a:pt x="1181" y="1070"/>
                  </a:lnTo>
                  <a:lnTo>
                    <a:pt x="1194" y="1074"/>
                  </a:lnTo>
                  <a:lnTo>
                    <a:pt x="1209" y="1078"/>
                  </a:lnTo>
                  <a:lnTo>
                    <a:pt x="1227" y="1080"/>
                  </a:lnTo>
                  <a:lnTo>
                    <a:pt x="1245" y="1081"/>
                  </a:lnTo>
                  <a:lnTo>
                    <a:pt x="1266" y="1081"/>
                  </a:lnTo>
                  <a:lnTo>
                    <a:pt x="1287" y="1078"/>
                  </a:lnTo>
                  <a:lnTo>
                    <a:pt x="1288" y="1078"/>
                  </a:lnTo>
                  <a:lnTo>
                    <a:pt x="1323" y="1019"/>
                  </a:lnTo>
                  <a:lnTo>
                    <a:pt x="1323" y="1018"/>
                  </a:lnTo>
                  <a:lnTo>
                    <a:pt x="1319" y="1007"/>
                  </a:lnTo>
                  <a:lnTo>
                    <a:pt x="1314" y="997"/>
                  </a:lnTo>
                  <a:lnTo>
                    <a:pt x="1305" y="978"/>
                  </a:lnTo>
                  <a:lnTo>
                    <a:pt x="1293" y="962"/>
                  </a:lnTo>
                  <a:lnTo>
                    <a:pt x="1282" y="948"/>
                  </a:lnTo>
                  <a:lnTo>
                    <a:pt x="1271" y="937"/>
                  </a:lnTo>
                  <a:lnTo>
                    <a:pt x="1260" y="928"/>
                  </a:lnTo>
                  <a:lnTo>
                    <a:pt x="1251" y="919"/>
                  </a:lnTo>
                  <a:lnTo>
                    <a:pt x="1243" y="914"/>
                  </a:lnTo>
                  <a:lnTo>
                    <a:pt x="1254" y="882"/>
                  </a:lnTo>
                  <a:lnTo>
                    <a:pt x="1264" y="851"/>
                  </a:lnTo>
                  <a:lnTo>
                    <a:pt x="1272" y="850"/>
                  </a:lnTo>
                  <a:lnTo>
                    <a:pt x="1283" y="849"/>
                  </a:lnTo>
                  <a:lnTo>
                    <a:pt x="1297" y="847"/>
                  </a:lnTo>
                  <a:lnTo>
                    <a:pt x="1314" y="842"/>
                  </a:lnTo>
                  <a:lnTo>
                    <a:pt x="1332" y="836"/>
                  </a:lnTo>
                  <a:lnTo>
                    <a:pt x="1352" y="827"/>
                  </a:lnTo>
                  <a:lnTo>
                    <a:pt x="1361" y="822"/>
                  </a:lnTo>
                  <a:lnTo>
                    <a:pt x="1371" y="816"/>
                  </a:lnTo>
                  <a:lnTo>
                    <a:pt x="1381" y="808"/>
                  </a:lnTo>
                  <a:lnTo>
                    <a:pt x="1392" y="799"/>
                  </a:lnTo>
                  <a:lnTo>
                    <a:pt x="1392" y="73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 lang="en-US">
                <a:ea typeface="ＭＳ Ｐゴシック" pitchFamily="31" charset="-128"/>
              </a:endParaRPr>
            </a:p>
          </p:txBody>
        </p:sp>
        <p:sp>
          <p:nvSpPr>
            <p:cNvPr id="39" name="Freeform 51"/>
            <p:cNvSpPr>
              <a:spLocks/>
            </p:cNvSpPr>
            <p:nvPr/>
          </p:nvSpPr>
          <p:spPr bwMode="auto">
            <a:xfrm>
              <a:off x="4613" y="3491"/>
              <a:ext cx="311" cy="310"/>
            </a:xfrm>
            <a:custGeom>
              <a:avLst/>
              <a:gdLst>
                <a:gd name="T0" fmla="*/ 620 w 621"/>
                <a:gd name="T1" fmla="*/ 326 h 621"/>
                <a:gd name="T2" fmla="*/ 615 w 621"/>
                <a:gd name="T3" fmla="*/ 373 h 621"/>
                <a:gd name="T4" fmla="*/ 602 w 621"/>
                <a:gd name="T5" fmla="*/ 417 h 621"/>
                <a:gd name="T6" fmla="*/ 583 w 621"/>
                <a:gd name="T7" fmla="*/ 458 h 621"/>
                <a:gd name="T8" fmla="*/ 560 w 621"/>
                <a:gd name="T9" fmla="*/ 496 h 621"/>
                <a:gd name="T10" fmla="*/ 530 w 621"/>
                <a:gd name="T11" fmla="*/ 530 h 621"/>
                <a:gd name="T12" fmla="*/ 496 w 621"/>
                <a:gd name="T13" fmla="*/ 560 h 621"/>
                <a:gd name="T14" fmla="*/ 458 w 621"/>
                <a:gd name="T15" fmla="*/ 583 h 621"/>
                <a:gd name="T16" fmla="*/ 417 w 621"/>
                <a:gd name="T17" fmla="*/ 602 h 621"/>
                <a:gd name="T18" fmla="*/ 373 w 621"/>
                <a:gd name="T19" fmla="*/ 615 h 621"/>
                <a:gd name="T20" fmla="*/ 326 w 621"/>
                <a:gd name="T21" fmla="*/ 620 h 621"/>
                <a:gd name="T22" fmla="*/ 294 w 621"/>
                <a:gd name="T23" fmla="*/ 620 h 621"/>
                <a:gd name="T24" fmla="*/ 248 w 621"/>
                <a:gd name="T25" fmla="*/ 615 h 621"/>
                <a:gd name="T26" fmla="*/ 203 w 621"/>
                <a:gd name="T27" fmla="*/ 602 h 621"/>
                <a:gd name="T28" fmla="*/ 162 w 621"/>
                <a:gd name="T29" fmla="*/ 583 h 621"/>
                <a:gd name="T30" fmla="*/ 124 w 621"/>
                <a:gd name="T31" fmla="*/ 560 h 621"/>
                <a:gd name="T32" fmla="*/ 90 w 621"/>
                <a:gd name="T33" fmla="*/ 530 h 621"/>
                <a:gd name="T34" fmla="*/ 61 w 621"/>
                <a:gd name="T35" fmla="*/ 496 h 621"/>
                <a:gd name="T36" fmla="*/ 37 w 621"/>
                <a:gd name="T37" fmla="*/ 458 h 621"/>
                <a:gd name="T38" fmla="*/ 18 w 621"/>
                <a:gd name="T39" fmla="*/ 417 h 621"/>
                <a:gd name="T40" fmla="*/ 6 w 621"/>
                <a:gd name="T41" fmla="*/ 373 h 621"/>
                <a:gd name="T42" fmla="*/ 0 w 621"/>
                <a:gd name="T43" fmla="*/ 326 h 621"/>
                <a:gd name="T44" fmla="*/ 0 w 621"/>
                <a:gd name="T45" fmla="*/ 294 h 621"/>
                <a:gd name="T46" fmla="*/ 6 w 621"/>
                <a:gd name="T47" fmla="*/ 248 h 621"/>
                <a:gd name="T48" fmla="*/ 18 w 621"/>
                <a:gd name="T49" fmla="*/ 204 h 621"/>
                <a:gd name="T50" fmla="*/ 37 w 621"/>
                <a:gd name="T51" fmla="*/ 162 h 621"/>
                <a:gd name="T52" fmla="*/ 61 w 621"/>
                <a:gd name="T53" fmla="*/ 124 h 621"/>
                <a:gd name="T54" fmla="*/ 90 w 621"/>
                <a:gd name="T55" fmla="*/ 90 h 621"/>
                <a:gd name="T56" fmla="*/ 124 w 621"/>
                <a:gd name="T57" fmla="*/ 62 h 621"/>
                <a:gd name="T58" fmla="*/ 162 w 621"/>
                <a:gd name="T59" fmla="*/ 37 h 621"/>
                <a:gd name="T60" fmla="*/ 203 w 621"/>
                <a:gd name="T61" fmla="*/ 19 h 621"/>
                <a:gd name="T62" fmla="*/ 248 w 621"/>
                <a:gd name="T63" fmla="*/ 6 h 621"/>
                <a:gd name="T64" fmla="*/ 294 w 621"/>
                <a:gd name="T65" fmla="*/ 0 h 621"/>
                <a:gd name="T66" fmla="*/ 326 w 621"/>
                <a:gd name="T67" fmla="*/ 0 h 621"/>
                <a:gd name="T68" fmla="*/ 373 w 621"/>
                <a:gd name="T69" fmla="*/ 6 h 621"/>
                <a:gd name="T70" fmla="*/ 417 w 621"/>
                <a:gd name="T71" fmla="*/ 19 h 621"/>
                <a:gd name="T72" fmla="*/ 458 w 621"/>
                <a:gd name="T73" fmla="*/ 37 h 621"/>
                <a:gd name="T74" fmla="*/ 496 w 621"/>
                <a:gd name="T75" fmla="*/ 62 h 621"/>
                <a:gd name="T76" fmla="*/ 530 w 621"/>
                <a:gd name="T77" fmla="*/ 90 h 621"/>
                <a:gd name="T78" fmla="*/ 560 w 621"/>
                <a:gd name="T79" fmla="*/ 124 h 621"/>
                <a:gd name="T80" fmla="*/ 583 w 621"/>
                <a:gd name="T81" fmla="*/ 162 h 621"/>
                <a:gd name="T82" fmla="*/ 602 w 621"/>
                <a:gd name="T83" fmla="*/ 204 h 621"/>
                <a:gd name="T84" fmla="*/ 615 w 621"/>
                <a:gd name="T85" fmla="*/ 248 h 621"/>
                <a:gd name="T86" fmla="*/ 620 w 621"/>
                <a:gd name="T87" fmla="*/ 294 h 62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21"/>
                <a:gd name="T133" fmla="*/ 0 h 621"/>
                <a:gd name="T134" fmla="*/ 621 w 621"/>
                <a:gd name="T135" fmla="*/ 621 h 62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21" h="621">
                  <a:moveTo>
                    <a:pt x="621" y="311"/>
                  </a:moveTo>
                  <a:lnTo>
                    <a:pt x="621" y="311"/>
                  </a:lnTo>
                  <a:lnTo>
                    <a:pt x="620" y="326"/>
                  </a:lnTo>
                  <a:lnTo>
                    <a:pt x="619" y="343"/>
                  </a:lnTo>
                  <a:lnTo>
                    <a:pt x="617" y="358"/>
                  </a:lnTo>
                  <a:lnTo>
                    <a:pt x="615" y="373"/>
                  </a:lnTo>
                  <a:lnTo>
                    <a:pt x="611" y="388"/>
                  </a:lnTo>
                  <a:lnTo>
                    <a:pt x="607" y="403"/>
                  </a:lnTo>
                  <a:lnTo>
                    <a:pt x="602" y="417"/>
                  </a:lnTo>
                  <a:lnTo>
                    <a:pt x="596" y="432"/>
                  </a:lnTo>
                  <a:lnTo>
                    <a:pt x="590" y="445"/>
                  </a:lnTo>
                  <a:lnTo>
                    <a:pt x="583" y="458"/>
                  </a:lnTo>
                  <a:lnTo>
                    <a:pt x="576" y="472"/>
                  </a:lnTo>
                  <a:lnTo>
                    <a:pt x="568" y="484"/>
                  </a:lnTo>
                  <a:lnTo>
                    <a:pt x="560" y="496"/>
                  </a:lnTo>
                  <a:lnTo>
                    <a:pt x="550" y="509"/>
                  </a:lnTo>
                  <a:lnTo>
                    <a:pt x="540" y="520"/>
                  </a:lnTo>
                  <a:lnTo>
                    <a:pt x="530" y="530"/>
                  </a:lnTo>
                  <a:lnTo>
                    <a:pt x="518" y="540"/>
                  </a:lnTo>
                  <a:lnTo>
                    <a:pt x="507" y="551"/>
                  </a:lnTo>
                  <a:lnTo>
                    <a:pt x="496" y="560"/>
                  </a:lnTo>
                  <a:lnTo>
                    <a:pt x="484" y="568"/>
                  </a:lnTo>
                  <a:lnTo>
                    <a:pt x="471" y="576"/>
                  </a:lnTo>
                  <a:lnTo>
                    <a:pt x="458" y="583"/>
                  </a:lnTo>
                  <a:lnTo>
                    <a:pt x="445" y="591"/>
                  </a:lnTo>
                  <a:lnTo>
                    <a:pt x="431" y="597"/>
                  </a:lnTo>
                  <a:lnTo>
                    <a:pt x="417" y="602"/>
                  </a:lnTo>
                  <a:lnTo>
                    <a:pt x="403" y="607"/>
                  </a:lnTo>
                  <a:lnTo>
                    <a:pt x="387" y="611"/>
                  </a:lnTo>
                  <a:lnTo>
                    <a:pt x="373" y="615"/>
                  </a:lnTo>
                  <a:lnTo>
                    <a:pt x="358" y="617"/>
                  </a:lnTo>
                  <a:lnTo>
                    <a:pt x="342" y="619"/>
                  </a:lnTo>
                  <a:lnTo>
                    <a:pt x="326" y="620"/>
                  </a:lnTo>
                  <a:lnTo>
                    <a:pt x="310" y="621"/>
                  </a:lnTo>
                  <a:lnTo>
                    <a:pt x="294" y="620"/>
                  </a:lnTo>
                  <a:lnTo>
                    <a:pt x="279" y="619"/>
                  </a:lnTo>
                  <a:lnTo>
                    <a:pt x="262" y="617"/>
                  </a:lnTo>
                  <a:lnTo>
                    <a:pt x="248" y="615"/>
                  </a:lnTo>
                  <a:lnTo>
                    <a:pt x="233" y="611"/>
                  </a:lnTo>
                  <a:lnTo>
                    <a:pt x="218" y="607"/>
                  </a:lnTo>
                  <a:lnTo>
                    <a:pt x="203" y="602"/>
                  </a:lnTo>
                  <a:lnTo>
                    <a:pt x="189" y="597"/>
                  </a:lnTo>
                  <a:lnTo>
                    <a:pt x="175" y="591"/>
                  </a:lnTo>
                  <a:lnTo>
                    <a:pt x="162" y="583"/>
                  </a:lnTo>
                  <a:lnTo>
                    <a:pt x="148" y="576"/>
                  </a:lnTo>
                  <a:lnTo>
                    <a:pt x="136" y="568"/>
                  </a:lnTo>
                  <a:lnTo>
                    <a:pt x="124" y="560"/>
                  </a:lnTo>
                  <a:lnTo>
                    <a:pt x="113" y="551"/>
                  </a:lnTo>
                  <a:lnTo>
                    <a:pt x="101" y="540"/>
                  </a:lnTo>
                  <a:lnTo>
                    <a:pt x="90" y="530"/>
                  </a:lnTo>
                  <a:lnTo>
                    <a:pt x="80" y="520"/>
                  </a:lnTo>
                  <a:lnTo>
                    <a:pt x="71" y="509"/>
                  </a:lnTo>
                  <a:lnTo>
                    <a:pt x="61" y="496"/>
                  </a:lnTo>
                  <a:lnTo>
                    <a:pt x="52" y="484"/>
                  </a:lnTo>
                  <a:lnTo>
                    <a:pt x="44" y="472"/>
                  </a:lnTo>
                  <a:lnTo>
                    <a:pt x="37" y="458"/>
                  </a:lnTo>
                  <a:lnTo>
                    <a:pt x="30" y="445"/>
                  </a:lnTo>
                  <a:lnTo>
                    <a:pt x="23" y="432"/>
                  </a:lnTo>
                  <a:lnTo>
                    <a:pt x="18" y="417"/>
                  </a:lnTo>
                  <a:lnTo>
                    <a:pt x="13" y="403"/>
                  </a:lnTo>
                  <a:lnTo>
                    <a:pt x="9" y="388"/>
                  </a:lnTo>
                  <a:lnTo>
                    <a:pt x="6" y="373"/>
                  </a:lnTo>
                  <a:lnTo>
                    <a:pt x="3" y="358"/>
                  </a:lnTo>
                  <a:lnTo>
                    <a:pt x="1" y="343"/>
                  </a:lnTo>
                  <a:lnTo>
                    <a:pt x="0" y="326"/>
                  </a:lnTo>
                  <a:lnTo>
                    <a:pt x="0" y="311"/>
                  </a:lnTo>
                  <a:lnTo>
                    <a:pt x="0" y="294"/>
                  </a:lnTo>
                  <a:lnTo>
                    <a:pt x="1" y="279"/>
                  </a:lnTo>
                  <a:lnTo>
                    <a:pt x="3" y="264"/>
                  </a:lnTo>
                  <a:lnTo>
                    <a:pt x="6" y="248"/>
                  </a:lnTo>
                  <a:lnTo>
                    <a:pt x="9" y="233"/>
                  </a:lnTo>
                  <a:lnTo>
                    <a:pt x="13" y="219"/>
                  </a:lnTo>
                  <a:lnTo>
                    <a:pt x="18" y="204"/>
                  </a:lnTo>
                  <a:lnTo>
                    <a:pt x="23" y="190"/>
                  </a:lnTo>
                  <a:lnTo>
                    <a:pt x="30" y="175"/>
                  </a:lnTo>
                  <a:lnTo>
                    <a:pt x="37" y="162"/>
                  </a:lnTo>
                  <a:lnTo>
                    <a:pt x="44" y="150"/>
                  </a:lnTo>
                  <a:lnTo>
                    <a:pt x="52" y="137"/>
                  </a:lnTo>
                  <a:lnTo>
                    <a:pt x="61" y="124"/>
                  </a:lnTo>
                  <a:lnTo>
                    <a:pt x="71" y="113"/>
                  </a:lnTo>
                  <a:lnTo>
                    <a:pt x="80" y="102"/>
                  </a:lnTo>
                  <a:lnTo>
                    <a:pt x="90" y="90"/>
                  </a:lnTo>
                  <a:lnTo>
                    <a:pt x="101" y="80"/>
                  </a:lnTo>
                  <a:lnTo>
                    <a:pt x="113" y="71"/>
                  </a:lnTo>
                  <a:lnTo>
                    <a:pt x="124" y="62"/>
                  </a:lnTo>
                  <a:lnTo>
                    <a:pt x="136" y="53"/>
                  </a:lnTo>
                  <a:lnTo>
                    <a:pt x="148" y="45"/>
                  </a:lnTo>
                  <a:lnTo>
                    <a:pt x="162" y="37"/>
                  </a:lnTo>
                  <a:lnTo>
                    <a:pt x="175" y="31"/>
                  </a:lnTo>
                  <a:lnTo>
                    <a:pt x="189" y="24"/>
                  </a:lnTo>
                  <a:lnTo>
                    <a:pt x="203" y="19"/>
                  </a:lnTo>
                  <a:lnTo>
                    <a:pt x="218" y="14"/>
                  </a:lnTo>
                  <a:lnTo>
                    <a:pt x="233" y="9"/>
                  </a:lnTo>
                  <a:lnTo>
                    <a:pt x="248" y="6"/>
                  </a:lnTo>
                  <a:lnTo>
                    <a:pt x="262" y="3"/>
                  </a:lnTo>
                  <a:lnTo>
                    <a:pt x="279" y="1"/>
                  </a:lnTo>
                  <a:lnTo>
                    <a:pt x="294" y="0"/>
                  </a:lnTo>
                  <a:lnTo>
                    <a:pt x="310" y="0"/>
                  </a:lnTo>
                  <a:lnTo>
                    <a:pt x="326" y="0"/>
                  </a:lnTo>
                  <a:lnTo>
                    <a:pt x="342" y="1"/>
                  </a:lnTo>
                  <a:lnTo>
                    <a:pt x="358" y="3"/>
                  </a:lnTo>
                  <a:lnTo>
                    <a:pt x="373" y="6"/>
                  </a:lnTo>
                  <a:lnTo>
                    <a:pt x="387" y="9"/>
                  </a:lnTo>
                  <a:lnTo>
                    <a:pt x="403" y="14"/>
                  </a:lnTo>
                  <a:lnTo>
                    <a:pt x="417" y="19"/>
                  </a:lnTo>
                  <a:lnTo>
                    <a:pt x="431" y="24"/>
                  </a:lnTo>
                  <a:lnTo>
                    <a:pt x="445" y="31"/>
                  </a:lnTo>
                  <a:lnTo>
                    <a:pt x="458" y="37"/>
                  </a:lnTo>
                  <a:lnTo>
                    <a:pt x="471" y="45"/>
                  </a:lnTo>
                  <a:lnTo>
                    <a:pt x="484" y="53"/>
                  </a:lnTo>
                  <a:lnTo>
                    <a:pt x="496" y="62"/>
                  </a:lnTo>
                  <a:lnTo>
                    <a:pt x="507" y="71"/>
                  </a:lnTo>
                  <a:lnTo>
                    <a:pt x="518" y="80"/>
                  </a:lnTo>
                  <a:lnTo>
                    <a:pt x="530" y="90"/>
                  </a:lnTo>
                  <a:lnTo>
                    <a:pt x="540" y="102"/>
                  </a:lnTo>
                  <a:lnTo>
                    <a:pt x="550" y="113"/>
                  </a:lnTo>
                  <a:lnTo>
                    <a:pt x="560" y="124"/>
                  </a:lnTo>
                  <a:lnTo>
                    <a:pt x="568" y="137"/>
                  </a:lnTo>
                  <a:lnTo>
                    <a:pt x="576" y="150"/>
                  </a:lnTo>
                  <a:lnTo>
                    <a:pt x="583" y="162"/>
                  </a:lnTo>
                  <a:lnTo>
                    <a:pt x="590" y="175"/>
                  </a:lnTo>
                  <a:lnTo>
                    <a:pt x="596" y="190"/>
                  </a:lnTo>
                  <a:lnTo>
                    <a:pt x="602" y="204"/>
                  </a:lnTo>
                  <a:lnTo>
                    <a:pt x="607" y="219"/>
                  </a:lnTo>
                  <a:lnTo>
                    <a:pt x="611" y="233"/>
                  </a:lnTo>
                  <a:lnTo>
                    <a:pt x="615" y="248"/>
                  </a:lnTo>
                  <a:lnTo>
                    <a:pt x="617" y="264"/>
                  </a:lnTo>
                  <a:lnTo>
                    <a:pt x="619" y="279"/>
                  </a:lnTo>
                  <a:lnTo>
                    <a:pt x="620" y="294"/>
                  </a:lnTo>
                  <a:lnTo>
                    <a:pt x="621" y="311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 lang="en-US">
                <a:ea typeface="ＭＳ Ｐゴシック" pitchFamily="31" charset="-128"/>
              </a:endParaRPr>
            </a:p>
          </p:txBody>
        </p:sp>
      </p:grpSp>
      <p:sp>
        <p:nvSpPr>
          <p:cNvPr id="89" name="Chevron 88"/>
          <p:cNvSpPr/>
          <p:nvPr/>
        </p:nvSpPr>
        <p:spPr>
          <a:xfrm rot="10800000">
            <a:off x="9538748" y="3500439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90" name="Chevron 89"/>
          <p:cNvSpPr/>
          <p:nvPr/>
        </p:nvSpPr>
        <p:spPr>
          <a:xfrm rot="10800000">
            <a:off x="9529604" y="399851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91" name="Chevron 90"/>
          <p:cNvSpPr/>
          <p:nvPr/>
        </p:nvSpPr>
        <p:spPr>
          <a:xfrm rot="10800000">
            <a:off x="9540512" y="450057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93" name="Rectangle 92"/>
          <p:cNvSpPr/>
          <p:nvPr/>
        </p:nvSpPr>
        <p:spPr>
          <a:xfrm>
            <a:off x="9600200" y="3520316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94" name="Rectangle 93"/>
          <p:cNvSpPr/>
          <p:nvPr/>
        </p:nvSpPr>
        <p:spPr>
          <a:xfrm>
            <a:off x="9610139" y="4030321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95" name="Rectangle 94"/>
          <p:cNvSpPr/>
          <p:nvPr/>
        </p:nvSpPr>
        <p:spPr>
          <a:xfrm>
            <a:off x="9600200" y="453038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97" name="Chevron 96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99" name="Rectangle 98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101" name="Chevron 100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02" name="Rectangle 101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45" name="Chevron 44"/>
          <p:cNvSpPr/>
          <p:nvPr/>
        </p:nvSpPr>
        <p:spPr>
          <a:xfrm rot="10800000">
            <a:off x="9525032" y="2998384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6" name="Rectangle 45"/>
          <p:cNvSpPr/>
          <p:nvPr/>
        </p:nvSpPr>
        <p:spPr>
          <a:xfrm>
            <a:off x="9605567" y="3030188"/>
            <a:ext cx="23391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  <a:endParaRPr lang="fr-FR" dirty="0"/>
          </a:p>
        </p:txBody>
      </p:sp>
      <p:grpSp>
        <p:nvGrpSpPr>
          <p:cNvPr id="47" name="Groupe 37"/>
          <p:cNvGrpSpPr/>
          <p:nvPr/>
        </p:nvGrpSpPr>
        <p:grpSpPr>
          <a:xfrm>
            <a:off x="8310586" y="2214566"/>
            <a:ext cx="2937840" cy="714368"/>
            <a:chOff x="9516150" y="2714632"/>
            <a:chExt cx="2937840" cy="714382"/>
          </a:xfrm>
        </p:grpSpPr>
        <p:grpSp>
          <p:nvGrpSpPr>
            <p:cNvPr id="48" name="Groupe 23"/>
            <p:cNvGrpSpPr/>
            <p:nvPr/>
          </p:nvGrpSpPr>
          <p:grpSpPr>
            <a:xfrm>
              <a:off x="9546052" y="2714632"/>
              <a:ext cx="2907938" cy="714382"/>
              <a:chOff x="9546052" y="2714621"/>
              <a:chExt cx="2765062" cy="430616"/>
            </a:xfrm>
          </p:grpSpPr>
          <p:sp>
            <p:nvSpPr>
              <p:cNvPr id="50" name="Chevron 49"/>
              <p:cNvSpPr/>
              <p:nvPr/>
            </p:nvSpPr>
            <p:spPr>
              <a:xfrm rot="10800000">
                <a:off x="9546052" y="2714621"/>
                <a:ext cx="2765062" cy="430616"/>
              </a:xfrm>
              <a:prstGeom prst="chevron">
                <a:avLst/>
              </a:prstGeom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51" name="Rectangle 50"/>
              <p:cNvSpPr/>
              <p:nvPr/>
            </p:nvSpPr>
            <p:spPr>
              <a:xfrm>
                <a:off x="9742270" y="2732240"/>
                <a:ext cx="1358405" cy="35417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fr-FR" dirty="0" smtClean="0"/>
                  <a:t>Planification</a:t>
                </a:r>
              </a:p>
              <a:p>
                <a:r>
                  <a:rPr lang="fr-FR" dirty="0" smtClean="0"/>
                  <a:t> du projet</a:t>
                </a:r>
              </a:p>
            </p:txBody>
          </p:sp>
        </p:grpSp>
        <p:sp>
          <p:nvSpPr>
            <p:cNvPr id="49" name="Rectangle 48"/>
            <p:cNvSpPr/>
            <p:nvPr/>
          </p:nvSpPr>
          <p:spPr>
            <a:xfrm>
              <a:off x="9516150" y="2916792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3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mmunication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430" y="1714488"/>
            <a:ext cx="1296144" cy="79208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380" y="1643050"/>
            <a:ext cx="1296144" cy="792088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1738290" y="2571744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i="1" dirty="0" smtClean="0">
                <a:latin typeface="Century Gothic" pitchFamily="34" charset="0"/>
              </a:rPr>
              <a:t>Chef d’équip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5524504" y="2500306"/>
            <a:ext cx="1872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i="1" dirty="0" smtClean="0">
                <a:latin typeface="Century Gothic" pitchFamily="34" charset="0"/>
              </a:rPr>
              <a:t>Collaborateurs</a:t>
            </a:r>
          </a:p>
        </p:txBody>
      </p:sp>
      <p:pic>
        <p:nvPicPr>
          <p:cNvPr id="10" name="Picture 2" descr="C:\Users\Aziza\Desktop\ViewSourceBI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0949" y="3214686"/>
            <a:ext cx="1096680" cy="922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lèche vers le bas 12"/>
          <p:cNvSpPr/>
          <p:nvPr/>
        </p:nvSpPr>
        <p:spPr>
          <a:xfrm>
            <a:off x="4310058" y="3000372"/>
            <a:ext cx="504056" cy="548322"/>
          </a:xfrm>
          <a:prstGeom prst="down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Flèche gauche 13"/>
          <p:cNvSpPr/>
          <p:nvPr/>
        </p:nvSpPr>
        <p:spPr>
          <a:xfrm>
            <a:off x="3024174" y="3929066"/>
            <a:ext cx="834399" cy="484632"/>
          </a:xfrm>
          <a:prstGeom prst="lef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Flèche droite 14"/>
          <p:cNvSpPr/>
          <p:nvPr/>
        </p:nvSpPr>
        <p:spPr>
          <a:xfrm>
            <a:off x="5238752" y="3929066"/>
            <a:ext cx="978408" cy="484632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/>
          <p:cNvSpPr/>
          <p:nvPr/>
        </p:nvSpPr>
        <p:spPr>
          <a:xfrm>
            <a:off x="6248803" y="2928934"/>
            <a:ext cx="18694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57300" lvl="2" indent="-342900" algn="just" defTabSz="649288">
              <a:spcBef>
                <a:spcPct val="25000"/>
              </a:spcBef>
            </a:pPr>
            <a:r>
              <a:rPr lang="fr-FR" altLang="en-GB" b="1" i="1" dirty="0" smtClean="0">
                <a:solidFill>
                  <a:srgbClr val="009BCC"/>
                </a:solidFill>
                <a:latin typeface="Century Gothic" pitchFamily="34" charset="0"/>
              </a:rPr>
              <a:t>E-mail </a:t>
            </a:r>
            <a:endParaRPr lang="fr-FR" altLang="en-GB" i="1" dirty="0">
              <a:solidFill>
                <a:schemeClr val="accent1"/>
              </a:solidFill>
              <a:latin typeface="Century Gothic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38007" y="4929198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57300" lvl="2" indent="-342900" algn="ctr" defTabSz="649288">
              <a:spcBef>
                <a:spcPct val="25000"/>
              </a:spcBef>
            </a:pPr>
            <a:r>
              <a:rPr lang="fr-FR" altLang="en-GB" b="1" i="1" dirty="0" smtClean="0">
                <a:solidFill>
                  <a:srgbClr val="009BCC"/>
                </a:solidFill>
                <a:latin typeface="Century Gothic" pitchFamily="34" charset="0"/>
              </a:rPr>
              <a:t>Suivi</a:t>
            </a:r>
            <a:endParaRPr lang="fr-FR" altLang="en-GB" b="1" i="1" dirty="0">
              <a:solidFill>
                <a:srgbClr val="009BCC"/>
              </a:solidFill>
              <a:latin typeface="Century Gothic" pitchFamily="34" charset="0"/>
            </a:endParaRPr>
          </a:p>
        </p:txBody>
      </p:sp>
      <p:pic>
        <p:nvPicPr>
          <p:cNvPr id="20" name="Picture 4" descr="C:\Users\Zakaria\Desktop\logo-excel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701" y="4143380"/>
            <a:ext cx="661597" cy="66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e 39"/>
          <p:cNvGrpSpPr/>
          <p:nvPr/>
        </p:nvGrpSpPr>
        <p:grpSpPr>
          <a:xfrm>
            <a:off x="4095744" y="3714752"/>
            <a:ext cx="928694" cy="1338686"/>
            <a:chOff x="7239016" y="1571612"/>
            <a:chExt cx="928694" cy="1338686"/>
          </a:xfrm>
        </p:grpSpPr>
        <p:sp>
          <p:nvSpPr>
            <p:cNvPr id="9" name="ZoneTexte 8"/>
            <p:cNvSpPr txBox="1"/>
            <p:nvPr/>
          </p:nvSpPr>
          <p:spPr>
            <a:xfrm>
              <a:off x="7453330" y="2571744"/>
              <a:ext cx="5760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600" b="1" i="1" dirty="0" smtClean="0">
                  <a:latin typeface="Century Gothic" pitchFamily="34" charset="0"/>
                </a:rPr>
                <a:t>Moi</a:t>
              </a:r>
            </a:p>
          </p:txBody>
        </p:sp>
        <p:pic>
          <p:nvPicPr>
            <p:cNvPr id="21" name="Picture 2" descr="information, personal icon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239016" y="1571612"/>
              <a:ext cx="928694" cy="928694"/>
            </a:xfrm>
            <a:prstGeom prst="rect">
              <a:avLst/>
            </a:prstGeom>
            <a:noFill/>
          </p:spPr>
        </p:pic>
      </p:grpSp>
      <p:sp>
        <p:nvSpPr>
          <p:cNvPr id="28" name="Rectangle à coins arrondis 27"/>
          <p:cNvSpPr/>
          <p:nvPr/>
        </p:nvSpPr>
        <p:spPr>
          <a:xfrm>
            <a:off x="71438" y="3214686"/>
            <a:ext cx="2809860" cy="2857520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-623122" y="327636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57300" marR="0" lvl="2" indent="-342900" algn="just" defTabSz="649288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GB" sz="1800" b="0" i="1" u="none" strike="noStrike" kern="0" cap="none" spc="0" normalizeH="0" baseline="0" noProof="0" dirty="0" smtClean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 pitchFamily="34" charset="0"/>
              </a:rPr>
              <a:t>Réunion :  </a:t>
            </a:r>
            <a:endParaRPr kumimoji="0" lang="fr-FR" altLang="en-GB" sz="1800" b="0" i="1" u="none" strike="noStrike" kern="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pic>
        <p:nvPicPr>
          <p:cNvPr id="30" name="Picture 2" descr="C:\Users\Zakaria\Desktop\logo_chron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92" y="3643314"/>
            <a:ext cx="485775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" descr="C:\Users\Zakaria\Desktop\logo reunion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92" y="4214818"/>
            <a:ext cx="628112" cy="646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/>
          <p:cNvSpPr/>
          <p:nvPr/>
        </p:nvSpPr>
        <p:spPr>
          <a:xfrm>
            <a:off x="666720" y="4286256"/>
            <a:ext cx="15520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57300" lvl="2" indent="-342900" defTabSz="649288">
              <a:spcBef>
                <a:spcPct val="25000"/>
              </a:spcBef>
            </a:pPr>
            <a:r>
              <a:rPr lang="fr-FR" altLang="en-GB" sz="1600" i="1" dirty="0" smtClean="0">
                <a:latin typeface="Century Gothic" pitchFamily="34" charset="0"/>
              </a:rPr>
              <a:t>DSM</a:t>
            </a:r>
            <a:endParaRPr lang="fr-FR" altLang="en-GB" sz="1600" i="1" dirty="0">
              <a:latin typeface="Century Gothic" pitchFamily="34" charset="0"/>
            </a:endParaRPr>
          </a:p>
        </p:txBody>
      </p:sp>
      <p:pic>
        <p:nvPicPr>
          <p:cNvPr id="33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356" y="1571612"/>
            <a:ext cx="872094" cy="989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ZoneTexte 33"/>
          <p:cNvSpPr txBox="1"/>
          <p:nvPr/>
        </p:nvSpPr>
        <p:spPr>
          <a:xfrm>
            <a:off x="3595678" y="2500306"/>
            <a:ext cx="1872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i="1" dirty="0" smtClean="0">
                <a:latin typeface="Century Gothic" pitchFamily="34" charset="0"/>
              </a:rPr>
              <a:t>Référant Tech</a:t>
            </a:r>
          </a:p>
        </p:txBody>
      </p:sp>
      <p:pic>
        <p:nvPicPr>
          <p:cNvPr id="35" name="Picture 3" descr="C:\Users\Zakaria\Desktop\logo reunion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30" y="5357826"/>
            <a:ext cx="628112" cy="646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/>
          <p:cNvSpPr/>
          <p:nvPr/>
        </p:nvSpPr>
        <p:spPr>
          <a:xfrm>
            <a:off x="309530" y="5572140"/>
            <a:ext cx="23936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57300" lvl="2" indent="-342900" algn="ctr" defTabSz="649288">
              <a:spcBef>
                <a:spcPct val="25000"/>
              </a:spcBef>
            </a:pPr>
            <a:r>
              <a:rPr lang="fr-FR" altLang="en-GB" sz="1600" i="1" dirty="0" smtClean="0">
                <a:latin typeface="Century Gothic" pitchFamily="34" charset="0"/>
              </a:rPr>
              <a:t>Point régulier</a:t>
            </a:r>
            <a:endParaRPr lang="fr-FR" altLang="en-GB" sz="1600" i="1" dirty="0">
              <a:latin typeface="Century Gothic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-261974" y="3786190"/>
            <a:ext cx="26965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57300" lvl="2" indent="-342900" defTabSz="649288">
              <a:spcBef>
                <a:spcPct val="25000"/>
              </a:spcBef>
            </a:pPr>
            <a:r>
              <a:rPr lang="fr-FR" altLang="en-GB" sz="1600" i="1" dirty="0" smtClean="0">
                <a:latin typeface="Century Gothic" pitchFamily="34" charset="0"/>
              </a:rPr>
              <a:t>15 min / Par jour</a:t>
            </a:r>
            <a:endParaRPr lang="fr-FR" altLang="en-GB" sz="1600" i="1" dirty="0">
              <a:latin typeface="Century Gothic" pitchFamily="34" charset="0"/>
            </a:endParaRPr>
          </a:p>
        </p:txBody>
      </p:sp>
      <p:pic>
        <p:nvPicPr>
          <p:cNvPr id="38" name="Picture 2" descr="C:\Users\Zakaria\Desktop\logo_chron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92" y="4786322"/>
            <a:ext cx="485775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38"/>
          <p:cNvSpPr/>
          <p:nvPr/>
        </p:nvSpPr>
        <p:spPr>
          <a:xfrm>
            <a:off x="-261974" y="4929198"/>
            <a:ext cx="326243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57300" lvl="2" indent="-342900" defTabSz="649288">
              <a:spcBef>
                <a:spcPct val="25000"/>
              </a:spcBef>
            </a:pPr>
            <a:r>
              <a:rPr lang="fr-FR" altLang="en-GB" sz="1600" i="1" dirty="0" smtClean="0">
                <a:latin typeface="Century Gothic" pitchFamily="34" charset="0"/>
              </a:rPr>
              <a:t> 30 min ~ 2h / Variant </a:t>
            </a:r>
            <a:endParaRPr lang="fr-FR" altLang="en-GB" sz="1600" i="1" dirty="0">
              <a:latin typeface="Century Gothic" pitchFamily="34" charset="0"/>
            </a:endParaRPr>
          </a:p>
        </p:txBody>
      </p:sp>
      <p:pic>
        <p:nvPicPr>
          <p:cNvPr id="39938" name="Picture 2" descr="http://www.droid-life.com/wp-content/uploads/2012/06/dropbox-logo.jpe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6569" y="3714752"/>
            <a:ext cx="857256" cy="883769"/>
          </a:xfrm>
          <a:prstGeom prst="rect">
            <a:avLst/>
          </a:prstGeom>
          <a:noFill/>
        </p:spPr>
      </p:pic>
      <p:sp>
        <p:nvSpPr>
          <p:cNvPr id="41" name="Chevron 40"/>
          <p:cNvSpPr/>
          <p:nvPr/>
        </p:nvSpPr>
        <p:spPr>
          <a:xfrm rot="10800000">
            <a:off x="9538748" y="3500439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2" name="Chevron 41"/>
          <p:cNvSpPr/>
          <p:nvPr/>
        </p:nvSpPr>
        <p:spPr>
          <a:xfrm rot="10800000">
            <a:off x="9529604" y="399851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3" name="Chevron 42"/>
          <p:cNvSpPr/>
          <p:nvPr/>
        </p:nvSpPr>
        <p:spPr>
          <a:xfrm rot="10800000">
            <a:off x="9540512" y="450057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5" name="Rectangle 44"/>
          <p:cNvSpPr/>
          <p:nvPr/>
        </p:nvSpPr>
        <p:spPr>
          <a:xfrm>
            <a:off x="9600200" y="3520316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46" name="Rectangle 45"/>
          <p:cNvSpPr/>
          <p:nvPr/>
        </p:nvSpPr>
        <p:spPr>
          <a:xfrm>
            <a:off x="9610139" y="4030321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47" name="Rectangle 46"/>
          <p:cNvSpPr/>
          <p:nvPr/>
        </p:nvSpPr>
        <p:spPr>
          <a:xfrm>
            <a:off x="9600200" y="453038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49" name="Chevron 48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51" name="Rectangle 50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53" name="Chevron 52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54" name="Rectangle 53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62" name="Chevron 61"/>
          <p:cNvSpPr/>
          <p:nvPr/>
        </p:nvSpPr>
        <p:spPr>
          <a:xfrm rot="10800000">
            <a:off x="9525032" y="2998384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63" name="Rectangle 62"/>
          <p:cNvSpPr/>
          <p:nvPr/>
        </p:nvSpPr>
        <p:spPr>
          <a:xfrm>
            <a:off x="9605567" y="3030188"/>
            <a:ext cx="23391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  <a:endParaRPr lang="fr-FR" dirty="0"/>
          </a:p>
        </p:txBody>
      </p:sp>
      <p:grpSp>
        <p:nvGrpSpPr>
          <p:cNvPr id="64" name="Groupe 37"/>
          <p:cNvGrpSpPr/>
          <p:nvPr/>
        </p:nvGrpSpPr>
        <p:grpSpPr>
          <a:xfrm>
            <a:off x="8310586" y="2214566"/>
            <a:ext cx="2937840" cy="714368"/>
            <a:chOff x="9516150" y="2714632"/>
            <a:chExt cx="2937840" cy="714382"/>
          </a:xfrm>
        </p:grpSpPr>
        <p:grpSp>
          <p:nvGrpSpPr>
            <p:cNvPr id="65" name="Groupe 23"/>
            <p:cNvGrpSpPr/>
            <p:nvPr/>
          </p:nvGrpSpPr>
          <p:grpSpPr>
            <a:xfrm>
              <a:off x="9546052" y="2714632"/>
              <a:ext cx="2907938" cy="714382"/>
              <a:chOff x="9546052" y="2714621"/>
              <a:chExt cx="2765062" cy="430616"/>
            </a:xfrm>
          </p:grpSpPr>
          <p:sp>
            <p:nvSpPr>
              <p:cNvPr id="67" name="Chevron 66"/>
              <p:cNvSpPr/>
              <p:nvPr/>
            </p:nvSpPr>
            <p:spPr>
              <a:xfrm rot="10800000">
                <a:off x="9546052" y="2714621"/>
                <a:ext cx="2765062" cy="430616"/>
              </a:xfrm>
              <a:prstGeom prst="chevron">
                <a:avLst/>
              </a:prstGeom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68" name="Rectangle 67"/>
              <p:cNvSpPr/>
              <p:nvPr/>
            </p:nvSpPr>
            <p:spPr>
              <a:xfrm>
                <a:off x="9742270" y="2732240"/>
                <a:ext cx="1358405" cy="35417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fr-FR" dirty="0" smtClean="0"/>
                  <a:t>Planification</a:t>
                </a:r>
              </a:p>
              <a:p>
                <a:r>
                  <a:rPr lang="fr-FR" dirty="0" smtClean="0"/>
                  <a:t> du projet</a:t>
                </a:r>
              </a:p>
            </p:txBody>
          </p:sp>
        </p:grpSp>
        <p:sp>
          <p:nvSpPr>
            <p:cNvPr id="66" name="Rectangle 65"/>
            <p:cNvSpPr/>
            <p:nvPr/>
          </p:nvSpPr>
          <p:spPr>
            <a:xfrm>
              <a:off x="9516150" y="2916792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3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0" y="2786058"/>
            <a:ext cx="104537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 smtClean="0">
                <a:solidFill>
                  <a:srgbClr val="3399FF"/>
                </a:solidFill>
                <a:latin typeface="Cooper Black" pitchFamily="18" charset="0"/>
              </a:rPr>
              <a:t>……………………………………………..</a:t>
            </a:r>
            <a:endParaRPr lang="fr-FR" b="1" dirty="0">
              <a:solidFill>
                <a:srgbClr val="3399FF"/>
              </a:solidFill>
              <a:latin typeface="Cooper Black" pitchFamily="18" charset="0"/>
            </a:endParaRPr>
          </a:p>
        </p:txBody>
      </p:sp>
      <p:sp>
        <p:nvSpPr>
          <p:cNvPr id="16" name="Titre 2"/>
          <p:cNvSpPr txBox="1">
            <a:spLocks/>
          </p:cNvSpPr>
          <p:nvPr/>
        </p:nvSpPr>
        <p:spPr bwMode="black">
          <a:xfrm>
            <a:off x="2095480" y="2143116"/>
            <a:ext cx="5715040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4800" dirty="0" smtClean="0">
                <a:latin typeface="+mn-lt"/>
              </a:rPr>
              <a:t>Contexte du projet</a:t>
            </a:r>
            <a:endParaRPr lang="fr-FR" dirty="0">
              <a:latin typeface="+mn-lt"/>
            </a:endParaRPr>
          </a:p>
        </p:txBody>
      </p:sp>
    </p:spTree>
  </p:cSld>
  <p:clrMapOvr>
    <a:masterClrMapping/>
  </p:clrMapOvr>
  <p:transition advClick="0" advTm="1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lan</a:t>
            </a:r>
            <a:endParaRPr lang="fr-FR" dirty="0"/>
          </a:p>
        </p:txBody>
      </p:sp>
      <p:cxnSp>
        <p:nvCxnSpPr>
          <p:cNvPr id="5" name="Connecteur droit 4"/>
          <p:cNvCxnSpPr/>
          <p:nvPr/>
        </p:nvCxnSpPr>
        <p:spPr bwMode="auto">
          <a:xfrm rot="16200000" flipH="1">
            <a:off x="-940635" y="3750471"/>
            <a:ext cx="5572164" cy="7143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6" name="Oval 13"/>
          <p:cNvSpPr>
            <a:spLocks noChangeAspect="1" noChangeArrowheads="1"/>
          </p:cNvSpPr>
          <p:nvPr/>
        </p:nvSpPr>
        <p:spPr bwMode="gray">
          <a:xfrm>
            <a:off x="1486768" y="2472382"/>
            <a:ext cx="609600" cy="473075"/>
          </a:xfrm>
          <a:prstGeom prst="ellipse">
            <a:avLst/>
          </a:prstGeom>
          <a:gradFill rotWithShape="1">
            <a:gsLst>
              <a:gs pos="0">
                <a:srgbClr val="332B24"/>
              </a:gs>
              <a:gs pos="100000">
                <a:srgbClr val="FFFFFF"/>
              </a:gs>
            </a:gsLst>
            <a:lin ang="18900000" scaled="1"/>
          </a:gra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rtl="1" eaLnBrk="0" hangingPunct="0">
              <a:defRPr/>
            </a:pPr>
            <a:endParaRPr lang="fr-FR" sz="1600" i="1" dirty="0">
              <a:solidFill>
                <a:schemeClr val="accent6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7" name="Oval 13"/>
          <p:cNvSpPr>
            <a:spLocks noChangeAspect="1" noChangeArrowheads="1"/>
          </p:cNvSpPr>
          <p:nvPr/>
        </p:nvSpPr>
        <p:spPr bwMode="gray">
          <a:xfrm>
            <a:off x="1508993" y="3140968"/>
            <a:ext cx="609600" cy="432049"/>
          </a:xfrm>
          <a:prstGeom prst="ellipse">
            <a:avLst/>
          </a:prstGeom>
          <a:gradFill rotWithShape="1">
            <a:gsLst>
              <a:gs pos="0">
                <a:srgbClr val="332B24"/>
              </a:gs>
              <a:gs pos="100000">
                <a:srgbClr val="FFFFFF"/>
              </a:gs>
            </a:gsLst>
            <a:lin ang="18900000" scaled="1"/>
          </a:gra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rtl="1" eaLnBrk="0" hangingPunct="0">
              <a:defRPr/>
            </a:pPr>
            <a:endParaRPr lang="fr-FR" sz="1600" i="1" dirty="0">
              <a:solidFill>
                <a:schemeClr val="accent6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8" name="Oval 13"/>
          <p:cNvSpPr>
            <a:spLocks noChangeAspect="1" noChangeArrowheads="1"/>
          </p:cNvSpPr>
          <p:nvPr/>
        </p:nvSpPr>
        <p:spPr bwMode="gray">
          <a:xfrm>
            <a:off x="1539274" y="3810744"/>
            <a:ext cx="587375" cy="457200"/>
          </a:xfrm>
          <a:prstGeom prst="ellipse">
            <a:avLst/>
          </a:prstGeom>
          <a:gradFill rotWithShape="1">
            <a:gsLst>
              <a:gs pos="0">
                <a:srgbClr val="332B24"/>
              </a:gs>
              <a:gs pos="100000">
                <a:srgbClr val="FFFFFF"/>
              </a:gs>
            </a:gsLst>
            <a:lin ang="18900000" scaled="1"/>
          </a:gra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rtl="1" eaLnBrk="0" hangingPunct="0">
              <a:defRPr/>
            </a:pPr>
            <a:endParaRPr lang="fr-FR" sz="1600" i="1" dirty="0">
              <a:solidFill>
                <a:schemeClr val="accent6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9" name="Oval 13"/>
          <p:cNvSpPr>
            <a:spLocks noChangeAspect="1" noChangeArrowheads="1"/>
          </p:cNvSpPr>
          <p:nvPr/>
        </p:nvSpPr>
        <p:spPr bwMode="gray">
          <a:xfrm>
            <a:off x="1539274" y="4437112"/>
            <a:ext cx="587375" cy="457200"/>
          </a:xfrm>
          <a:prstGeom prst="ellipse">
            <a:avLst/>
          </a:prstGeom>
          <a:gradFill rotWithShape="1">
            <a:gsLst>
              <a:gs pos="0">
                <a:srgbClr val="332B24"/>
              </a:gs>
              <a:gs pos="100000">
                <a:srgbClr val="FFFFFF"/>
              </a:gs>
            </a:gsLst>
            <a:lin ang="18900000" scaled="1"/>
          </a:gra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rtl="1" eaLnBrk="0" hangingPunct="0">
              <a:defRPr/>
            </a:pPr>
            <a:endParaRPr lang="fr-FR" sz="1600" i="1" dirty="0">
              <a:solidFill>
                <a:schemeClr val="accent6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10" name="Oval 13"/>
          <p:cNvSpPr>
            <a:spLocks noChangeAspect="1" noChangeArrowheads="1"/>
          </p:cNvSpPr>
          <p:nvPr/>
        </p:nvSpPr>
        <p:spPr bwMode="gray">
          <a:xfrm>
            <a:off x="1497879" y="1752302"/>
            <a:ext cx="609600" cy="473075"/>
          </a:xfrm>
          <a:prstGeom prst="ellipse">
            <a:avLst/>
          </a:prstGeom>
          <a:gradFill rotWithShape="1">
            <a:gsLst>
              <a:gs pos="0">
                <a:srgbClr val="332B24"/>
              </a:gs>
              <a:gs pos="100000">
                <a:srgbClr val="FFFFFF"/>
              </a:gs>
            </a:gsLst>
            <a:lin ang="18900000" scaled="1"/>
          </a:gra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rtl="1" eaLnBrk="0" hangingPunct="0">
              <a:defRPr/>
            </a:pPr>
            <a:endParaRPr lang="fr-FR" sz="1600" i="1" dirty="0">
              <a:solidFill>
                <a:schemeClr val="accent6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2238356" y="1785926"/>
            <a:ext cx="3143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’organisme d’accueil</a:t>
            </a:r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2166918" y="3143248"/>
            <a:ext cx="20697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Contexte du projet</a:t>
            </a:r>
            <a:endParaRPr lang="fr-FR" dirty="0"/>
          </a:p>
        </p:txBody>
      </p:sp>
      <p:sp>
        <p:nvSpPr>
          <p:cNvPr id="14" name="Rectangle 13"/>
          <p:cNvSpPr/>
          <p:nvPr/>
        </p:nvSpPr>
        <p:spPr>
          <a:xfrm>
            <a:off x="2166918" y="2500306"/>
            <a:ext cx="23903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Planification du projet</a:t>
            </a:r>
            <a:endParaRPr lang="fr-FR" dirty="0"/>
          </a:p>
        </p:txBody>
      </p:sp>
      <p:sp>
        <p:nvSpPr>
          <p:cNvPr id="15" name="Rectangle 14"/>
          <p:cNvSpPr/>
          <p:nvPr/>
        </p:nvSpPr>
        <p:spPr>
          <a:xfrm>
            <a:off x="2166918" y="3857628"/>
            <a:ext cx="21339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Etude de l’existant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166918" y="4500570"/>
            <a:ext cx="32111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Mise en œuvre de la solution </a:t>
            </a:r>
            <a:endParaRPr lang="fr-FR" dirty="0"/>
          </a:p>
        </p:txBody>
      </p:sp>
      <p:sp>
        <p:nvSpPr>
          <p:cNvPr id="23" name="Oval 13"/>
          <p:cNvSpPr>
            <a:spLocks noChangeAspect="1" noChangeArrowheads="1"/>
          </p:cNvSpPr>
          <p:nvPr/>
        </p:nvSpPr>
        <p:spPr bwMode="gray">
          <a:xfrm>
            <a:off x="1523976" y="5000636"/>
            <a:ext cx="609600" cy="473075"/>
          </a:xfrm>
          <a:prstGeom prst="ellipse">
            <a:avLst/>
          </a:prstGeom>
          <a:gradFill rotWithShape="1">
            <a:gsLst>
              <a:gs pos="0">
                <a:srgbClr val="332B24"/>
              </a:gs>
              <a:gs pos="100000">
                <a:srgbClr val="FFFFFF"/>
              </a:gs>
            </a:gsLst>
            <a:lin ang="18900000" scaled="1"/>
          </a:gra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rtl="1" eaLnBrk="0" hangingPunct="0">
              <a:defRPr/>
            </a:pPr>
            <a:endParaRPr lang="fr-FR" sz="1600" i="1" dirty="0">
              <a:solidFill>
                <a:schemeClr val="accent6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309794" y="5000636"/>
            <a:ext cx="697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Bilan</a:t>
            </a:r>
          </a:p>
        </p:txBody>
      </p:sp>
      <p:sp>
        <p:nvSpPr>
          <p:cNvPr id="28" name="Oval 13"/>
          <p:cNvSpPr>
            <a:spLocks noChangeAspect="1" noChangeArrowheads="1"/>
          </p:cNvSpPr>
          <p:nvPr/>
        </p:nvSpPr>
        <p:spPr bwMode="gray">
          <a:xfrm>
            <a:off x="1523976" y="1142984"/>
            <a:ext cx="609600" cy="473075"/>
          </a:xfrm>
          <a:prstGeom prst="ellipse">
            <a:avLst/>
          </a:prstGeom>
          <a:gradFill rotWithShape="1">
            <a:gsLst>
              <a:gs pos="0">
                <a:srgbClr val="332B24"/>
              </a:gs>
              <a:gs pos="100000">
                <a:srgbClr val="FFFFFF"/>
              </a:gs>
            </a:gsLst>
            <a:lin ang="18900000" scaled="1"/>
          </a:gradFill>
          <a:ln w="38100" algn="ctr">
            <a:noFill/>
            <a:round/>
            <a:headEnd/>
            <a:tailEnd/>
          </a:ln>
        </p:spPr>
        <p:txBody>
          <a:bodyPr anchor="ctr"/>
          <a:lstStyle/>
          <a:p>
            <a:pPr rtl="1" eaLnBrk="0" hangingPunct="0">
              <a:defRPr/>
            </a:pPr>
            <a:endParaRPr lang="fr-FR" sz="1600" i="1" dirty="0">
              <a:solidFill>
                <a:schemeClr val="accent6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2238356" y="1214422"/>
            <a:ext cx="3143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199405079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7" presetClass="emph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2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3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3929066"/>
            <a:ext cx="2890825" cy="2928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an Management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380968" y="1857364"/>
            <a:ext cx="864399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La méthode Lean s’articule autour de cinq critères importants qui sont :</a:t>
            </a:r>
          </a:p>
          <a:p>
            <a:endParaRPr lang="fr-FR" dirty="0" smtClean="0"/>
          </a:p>
          <a:p>
            <a:pPr lvl="4" algn="just">
              <a:buClr>
                <a:srgbClr val="3399FF"/>
              </a:buClr>
              <a:buFont typeface="Wingdings" pitchFamily="2" charset="2"/>
              <a:buChar char="§"/>
            </a:pPr>
            <a:r>
              <a:rPr lang="fr-FR" dirty="0" smtClean="0"/>
              <a:t> la valeur ou écouter la voix du client.</a:t>
            </a:r>
          </a:p>
          <a:p>
            <a:pPr lvl="4" algn="just">
              <a:buClr>
                <a:srgbClr val="3399FF"/>
              </a:buClr>
              <a:buFont typeface="Wingdings" pitchFamily="2" charset="2"/>
              <a:buChar char="§"/>
            </a:pPr>
            <a:r>
              <a:rPr lang="fr-FR" dirty="0" smtClean="0"/>
              <a:t> cartographier les flux.</a:t>
            </a:r>
          </a:p>
          <a:p>
            <a:pPr lvl="4" algn="just">
              <a:buClr>
                <a:srgbClr val="3399FF"/>
              </a:buClr>
              <a:buFont typeface="Wingdings" pitchFamily="2" charset="2"/>
              <a:buChar char="§"/>
            </a:pPr>
            <a:r>
              <a:rPr lang="fr-FR" dirty="0" smtClean="0"/>
              <a:t> tirer les flux.</a:t>
            </a:r>
          </a:p>
          <a:p>
            <a:pPr lvl="4" algn="just">
              <a:buClr>
                <a:srgbClr val="3399FF"/>
              </a:buClr>
              <a:buFont typeface="Wingdings" pitchFamily="2" charset="2"/>
              <a:buChar char="§"/>
            </a:pPr>
            <a:r>
              <a:rPr lang="fr-FR" dirty="0" smtClean="0"/>
              <a:t> résoudre les problèmes.</a:t>
            </a:r>
          </a:p>
          <a:p>
            <a:pPr lvl="4" algn="just">
              <a:buClr>
                <a:srgbClr val="3399FF"/>
              </a:buClr>
              <a:buFont typeface="Wingdings" pitchFamily="2" charset="2"/>
              <a:buChar char="§"/>
            </a:pPr>
            <a:r>
              <a:rPr lang="fr-FR" dirty="0" smtClean="0"/>
              <a:t> rechercher la perfection.</a:t>
            </a:r>
            <a:endParaRPr lang="fr-FR" dirty="0"/>
          </a:p>
        </p:txBody>
      </p:sp>
      <p:sp>
        <p:nvSpPr>
          <p:cNvPr id="14" name="Chevron 13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5" name="Chevron 14"/>
          <p:cNvSpPr/>
          <p:nvPr/>
        </p:nvSpPr>
        <p:spPr>
          <a:xfrm rot="10800000">
            <a:off x="9529604" y="3712765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6" name="Chevron 15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8" name="Rectangle 17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19" name="Rectangle 18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21" name="Groupe 20"/>
          <p:cNvGrpSpPr/>
          <p:nvPr/>
        </p:nvGrpSpPr>
        <p:grpSpPr>
          <a:xfrm>
            <a:off x="9546052" y="2714621"/>
            <a:ext cx="2765062" cy="430616"/>
            <a:chOff x="9546052" y="2714621"/>
            <a:chExt cx="2765062" cy="430616"/>
          </a:xfrm>
        </p:grpSpPr>
        <p:sp>
          <p:nvSpPr>
            <p:cNvPr id="22" name="Chevron 21"/>
            <p:cNvSpPr/>
            <p:nvPr/>
          </p:nvSpPr>
          <p:spPr>
            <a:xfrm rot="10800000">
              <a:off x="9546052" y="2714621"/>
              <a:ext cx="2765062" cy="430616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23" name="Rectangle 22"/>
            <p:cNvSpPr/>
            <p:nvPr/>
          </p:nvSpPr>
          <p:spPr>
            <a:xfrm>
              <a:off x="9607504" y="2734498"/>
              <a:ext cx="227498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4-Contexte du projet</a:t>
              </a:r>
            </a:p>
          </p:txBody>
        </p:sp>
      </p:grpSp>
      <p:sp>
        <p:nvSpPr>
          <p:cNvPr id="24" name="Chevron 23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6" name="Rectangle 25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9525032" y="2212567"/>
            <a:ext cx="2676117" cy="430616"/>
            <a:chOff x="9525032" y="2212567"/>
            <a:chExt cx="2676117" cy="430616"/>
          </a:xfrm>
        </p:grpSpPr>
        <p:sp>
          <p:nvSpPr>
            <p:cNvPr id="25" name="Chevron 24"/>
            <p:cNvSpPr/>
            <p:nvPr/>
          </p:nvSpPr>
          <p:spPr>
            <a:xfrm rot="10800000">
              <a:off x="9525032" y="2212567"/>
              <a:ext cx="2428892" cy="430616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27" name="Rectangle 26"/>
            <p:cNvSpPr/>
            <p:nvPr/>
          </p:nvSpPr>
          <p:spPr>
            <a:xfrm>
              <a:off x="9605567" y="2244371"/>
              <a:ext cx="259558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3-Planification du projet</a:t>
              </a:r>
              <a:endParaRPr lang="fr-FR" dirty="0"/>
            </a:p>
          </p:txBody>
        </p:sp>
      </p:grpSp>
      <p:sp>
        <p:nvSpPr>
          <p:cNvPr id="28" name="Chevron 27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9" name="Rectangle 28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2296E-6 -3.33333E-6 L -0.19625 -0.0006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an Management : Gaspillages</a:t>
            </a:r>
            <a:endParaRPr lang="fr-FR" dirty="0"/>
          </a:p>
        </p:txBody>
      </p:sp>
      <p:graphicFrame>
        <p:nvGraphicFramePr>
          <p:cNvPr id="13" name="Diagramme 12"/>
          <p:cNvGraphicFramePr/>
          <p:nvPr/>
        </p:nvGraphicFramePr>
        <p:xfrm>
          <a:off x="595282" y="1428736"/>
          <a:ext cx="8643998" cy="49292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Chevron 19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1" name="Chevron 20"/>
          <p:cNvSpPr/>
          <p:nvPr/>
        </p:nvSpPr>
        <p:spPr>
          <a:xfrm rot="10800000">
            <a:off x="9529604" y="3712765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2" name="Chevron 21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Rectangle 23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5" name="Rectangle 24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28" name="Chevron 27"/>
          <p:cNvSpPr/>
          <p:nvPr/>
        </p:nvSpPr>
        <p:spPr>
          <a:xfrm rot="10800000">
            <a:off x="9546052" y="2212566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9" name="Rectangle 28"/>
          <p:cNvSpPr/>
          <p:nvPr/>
        </p:nvSpPr>
        <p:spPr>
          <a:xfrm>
            <a:off x="9607504" y="2232443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Contexte du projet</a:t>
            </a:r>
          </a:p>
        </p:txBody>
      </p:sp>
      <p:sp>
        <p:nvSpPr>
          <p:cNvPr id="30" name="Chevron 29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Rectangle 31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grpSp>
        <p:nvGrpSpPr>
          <p:cNvPr id="36" name="Groupe 35"/>
          <p:cNvGrpSpPr/>
          <p:nvPr/>
        </p:nvGrpSpPr>
        <p:grpSpPr>
          <a:xfrm>
            <a:off x="7571648" y="2712632"/>
            <a:ext cx="3096392" cy="430616"/>
            <a:chOff x="9525032" y="2212567"/>
            <a:chExt cx="2428892" cy="430616"/>
          </a:xfrm>
        </p:grpSpPr>
        <p:sp>
          <p:nvSpPr>
            <p:cNvPr id="31" name="Chevron 30"/>
            <p:cNvSpPr/>
            <p:nvPr/>
          </p:nvSpPr>
          <p:spPr>
            <a:xfrm rot="10800000">
              <a:off x="9525032" y="2212567"/>
              <a:ext cx="2428892" cy="430616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33" name="Rectangle 32"/>
            <p:cNvSpPr/>
            <p:nvPr/>
          </p:nvSpPr>
          <p:spPr>
            <a:xfrm>
              <a:off x="9605567" y="2244371"/>
              <a:ext cx="178455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4-Contexte du projet</a:t>
              </a:r>
            </a:p>
          </p:txBody>
        </p:sp>
      </p:grpSp>
      <p:sp>
        <p:nvSpPr>
          <p:cNvPr id="34" name="Chevron 33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5" name="Rectangle 34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an Management &amp; Capgemini </a:t>
            </a:r>
            <a:endParaRPr lang="fr-FR" dirty="0"/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66852" y="2214554"/>
            <a:ext cx="5743575" cy="360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Chevron 19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1" name="Chevron 20"/>
          <p:cNvSpPr/>
          <p:nvPr/>
        </p:nvSpPr>
        <p:spPr>
          <a:xfrm rot="10800000">
            <a:off x="9529604" y="3712765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2" name="Chevron 21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Rectangle 23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5" name="Rectangle 24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0" name="Chevron 29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1" name="Rectangle 30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5" name="Chevron 3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19" name="Chevron 18"/>
          <p:cNvSpPr/>
          <p:nvPr/>
        </p:nvSpPr>
        <p:spPr>
          <a:xfrm rot="10800000">
            <a:off x="9546052" y="2212566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7504" y="2232443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Contexte du projet</a:t>
            </a:r>
          </a:p>
        </p:txBody>
      </p:sp>
      <p:grpSp>
        <p:nvGrpSpPr>
          <p:cNvPr id="27" name="Groupe 26"/>
          <p:cNvGrpSpPr/>
          <p:nvPr/>
        </p:nvGrpSpPr>
        <p:grpSpPr>
          <a:xfrm>
            <a:off x="7571648" y="2712632"/>
            <a:ext cx="3096392" cy="430616"/>
            <a:chOff x="9525032" y="2212567"/>
            <a:chExt cx="2428892" cy="430616"/>
          </a:xfrm>
        </p:grpSpPr>
        <p:sp>
          <p:nvSpPr>
            <p:cNvPr id="37" name="Chevron 36"/>
            <p:cNvSpPr/>
            <p:nvPr/>
          </p:nvSpPr>
          <p:spPr>
            <a:xfrm rot="10800000">
              <a:off x="9525032" y="2212567"/>
              <a:ext cx="2428892" cy="430616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38" name="Rectangle 37"/>
            <p:cNvSpPr/>
            <p:nvPr/>
          </p:nvSpPr>
          <p:spPr>
            <a:xfrm>
              <a:off x="9605567" y="2244371"/>
              <a:ext cx="178455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4-Contexte du projet</a:t>
              </a:r>
            </a:p>
          </p:txBody>
        </p:sp>
      </p:grpSp>
      <p:sp>
        <p:nvSpPr>
          <p:cNvPr id="28" name="Ellipse 27"/>
          <p:cNvSpPr/>
          <p:nvPr/>
        </p:nvSpPr>
        <p:spPr>
          <a:xfrm>
            <a:off x="1738290" y="2000240"/>
            <a:ext cx="1571636" cy="107157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Ellipse 28"/>
          <p:cNvSpPr/>
          <p:nvPr/>
        </p:nvSpPr>
        <p:spPr>
          <a:xfrm>
            <a:off x="6024570" y="3000372"/>
            <a:ext cx="1571636" cy="107157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fr-FR" dirty="0" smtClean="0"/>
              <a:t>Mon Projet : VALEURS </a:t>
            </a:r>
            <a:endParaRPr lang="fr-FR" dirty="0"/>
          </a:p>
        </p:txBody>
      </p:sp>
      <p:sp>
        <p:nvSpPr>
          <p:cNvPr id="61" name="TextBox 5"/>
          <p:cNvSpPr txBox="1"/>
          <p:nvPr/>
        </p:nvSpPr>
        <p:spPr>
          <a:xfrm>
            <a:off x="1523976" y="2285992"/>
            <a:ext cx="2850460" cy="1569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3399FF"/>
                </a:solidFill>
                <a:latin typeface="Arial" pitchFamily="34" charset="0"/>
                <a:cs typeface="Arial" pitchFamily="34" charset="0"/>
              </a:rPr>
              <a:t>EFFI</a:t>
            </a:r>
            <a:endParaRPr lang="en-US" sz="9600" dirty="0">
              <a:solidFill>
                <a:srgbClr val="3399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TextBox 6"/>
          <p:cNvSpPr txBox="1"/>
          <p:nvPr/>
        </p:nvSpPr>
        <p:spPr>
          <a:xfrm>
            <a:off x="5001597" y="2287968"/>
            <a:ext cx="3809055" cy="1569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3399FF"/>
                </a:solidFill>
                <a:latin typeface="Arial" pitchFamily="34" charset="0"/>
                <a:cs typeface="Arial" pitchFamily="34" charset="0"/>
              </a:rPr>
              <a:t>ACITE</a:t>
            </a:r>
            <a:endParaRPr lang="en-US" sz="9600" dirty="0">
              <a:solidFill>
                <a:srgbClr val="3399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TextBox 7"/>
          <p:cNvSpPr txBox="1"/>
          <p:nvPr/>
        </p:nvSpPr>
        <p:spPr>
          <a:xfrm>
            <a:off x="5095876" y="-1643098"/>
            <a:ext cx="3946913" cy="1569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3399FF"/>
                </a:solidFill>
                <a:latin typeface="Arial" pitchFamily="34" charset="0"/>
                <a:cs typeface="Arial" pitchFamily="34" charset="0"/>
              </a:rPr>
              <a:t>IENCE</a:t>
            </a:r>
            <a:endParaRPr lang="en-US" sz="9600" dirty="0">
              <a:solidFill>
                <a:srgbClr val="3399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64419" y="2285992"/>
            <a:ext cx="1074333" cy="1569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3399FF"/>
                </a:solidFill>
                <a:latin typeface="Arial" pitchFamily="34" charset="0"/>
                <a:cs typeface="Arial" pitchFamily="34" charset="0"/>
              </a:rPr>
              <a:t>C</a:t>
            </a:r>
            <a:endParaRPr lang="en-US" sz="9600" dirty="0">
              <a:solidFill>
                <a:srgbClr val="3399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5"/>
          <p:cNvSpPr txBox="1"/>
          <p:nvPr/>
        </p:nvSpPr>
        <p:spPr>
          <a:xfrm>
            <a:off x="3381364" y="6858000"/>
            <a:ext cx="2783133" cy="1569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3399FF"/>
                </a:solidFill>
                <a:latin typeface="Arial" pitchFamily="34" charset="0"/>
                <a:cs typeface="Arial" pitchFamily="34" charset="0"/>
              </a:rPr>
              <a:t>OÛT</a:t>
            </a:r>
            <a:endParaRPr lang="en-US" sz="9600" dirty="0">
              <a:solidFill>
                <a:srgbClr val="3399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7"/>
          <p:cNvSpPr txBox="1"/>
          <p:nvPr/>
        </p:nvSpPr>
        <p:spPr>
          <a:xfrm>
            <a:off x="9935837" y="2287968"/>
            <a:ext cx="3441969" cy="156966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 algn="ctr"/>
            <a:r>
              <a:rPr lang="en-US" sz="9600" dirty="0" smtClean="0">
                <a:solidFill>
                  <a:srgbClr val="3399FF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 0 $</a:t>
            </a:r>
            <a:endParaRPr lang="en-US" sz="9600" dirty="0">
              <a:solidFill>
                <a:srgbClr val="3399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433 -0.24977 L -0.01009 0.5724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" y="41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2525E-6 4.81481E-6 L -0.17092 -0.00024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5" y="0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69 0.00023 L -0.00721 -0.66667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" y="-3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35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82051E-6 3.33333E-6 L -0.40785 -0.00047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/>
      <p:bldP spid="63" grpId="0"/>
      <p:bldP spid="63" grpId="1"/>
      <p:bldP spid="6" grpId="0"/>
      <p:bldP spid="7" grpId="0"/>
      <p:bldP spid="9" grpId="2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476288" y="0"/>
            <a:ext cx="9906000" cy="1188000"/>
          </a:xfrm>
        </p:spPr>
        <p:txBody>
          <a:bodyPr/>
          <a:lstStyle/>
          <a:p>
            <a:r>
              <a:rPr lang="fr-FR" dirty="0" smtClean="0"/>
              <a:t>Cycle de vie </a:t>
            </a:r>
            <a:r>
              <a:rPr lang="fr-FR" dirty="0" smtClean="0"/>
              <a:t>d’un </a:t>
            </a:r>
            <a:r>
              <a:rPr lang="fr-FR" dirty="0" smtClean="0"/>
              <a:t>projet</a:t>
            </a:r>
            <a:endParaRPr lang="fr-FR" dirty="0"/>
          </a:p>
        </p:txBody>
      </p:sp>
      <p:grpSp>
        <p:nvGrpSpPr>
          <p:cNvPr id="40" name="Groupe 39"/>
          <p:cNvGrpSpPr/>
          <p:nvPr/>
        </p:nvGrpSpPr>
        <p:grpSpPr>
          <a:xfrm>
            <a:off x="738158" y="1368158"/>
            <a:ext cx="7334279" cy="4846924"/>
            <a:chOff x="1095348" y="1142984"/>
            <a:chExt cx="7334279" cy="4846924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095348" y="1428736"/>
              <a:ext cx="7334279" cy="4561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5" name="Connecteur droit avec flèche 4"/>
            <p:cNvCxnSpPr/>
            <p:nvPr/>
          </p:nvCxnSpPr>
          <p:spPr>
            <a:xfrm rot="16200000" flipH="1">
              <a:off x="1416819" y="2178835"/>
              <a:ext cx="4000528" cy="2071702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/>
          </p:nvCxnSpPr>
          <p:spPr>
            <a:xfrm rot="5400000" flipH="1" flipV="1">
              <a:off x="4202902" y="2250273"/>
              <a:ext cx="4071966" cy="1857388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23" name="Chevron 22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Chevron 23"/>
          <p:cNvSpPr/>
          <p:nvPr/>
        </p:nvSpPr>
        <p:spPr>
          <a:xfrm rot="10800000">
            <a:off x="9529604" y="3712765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5" name="Chevron 24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7" name="Rectangle 26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8" name="Rectangle 27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3" name="Chevron 32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4" name="Rectangle 33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8" name="Chevron 37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9" name="Rectangle 38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22" name="Chevron 21"/>
          <p:cNvSpPr/>
          <p:nvPr/>
        </p:nvSpPr>
        <p:spPr>
          <a:xfrm rot="10800000">
            <a:off x="9546052" y="2212566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6" name="Rectangle 25"/>
          <p:cNvSpPr/>
          <p:nvPr/>
        </p:nvSpPr>
        <p:spPr>
          <a:xfrm>
            <a:off x="9607504" y="2232443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Contexte du projet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7596206" y="2712632"/>
            <a:ext cx="3096392" cy="430616"/>
            <a:chOff x="9525032" y="2212567"/>
            <a:chExt cx="2428892" cy="430616"/>
          </a:xfrm>
        </p:grpSpPr>
        <p:sp>
          <p:nvSpPr>
            <p:cNvPr id="41" name="Chevron 40"/>
            <p:cNvSpPr/>
            <p:nvPr/>
          </p:nvSpPr>
          <p:spPr>
            <a:xfrm rot="10800000">
              <a:off x="9525032" y="2212567"/>
              <a:ext cx="2428892" cy="430616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2" name="Rectangle 41"/>
            <p:cNvSpPr/>
            <p:nvPr/>
          </p:nvSpPr>
          <p:spPr>
            <a:xfrm>
              <a:off x="9605567" y="2244371"/>
              <a:ext cx="178455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4-Contexte du projet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9.23521E-7 -1.85185E-6 L 0.19497 -0.0004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0" y="2786058"/>
            <a:ext cx="104537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 smtClean="0">
                <a:solidFill>
                  <a:srgbClr val="3399FF"/>
                </a:solidFill>
                <a:latin typeface="Cooper Black" pitchFamily="18" charset="0"/>
              </a:rPr>
              <a:t>……………………………………………..</a:t>
            </a:r>
            <a:endParaRPr lang="fr-FR" b="1" dirty="0">
              <a:solidFill>
                <a:srgbClr val="3399FF"/>
              </a:solidFill>
              <a:latin typeface="Cooper Black" pitchFamily="18" charset="0"/>
            </a:endParaRPr>
          </a:p>
        </p:txBody>
      </p:sp>
      <p:sp>
        <p:nvSpPr>
          <p:cNvPr id="16" name="Titre 2"/>
          <p:cNvSpPr txBox="1">
            <a:spLocks/>
          </p:cNvSpPr>
          <p:nvPr/>
        </p:nvSpPr>
        <p:spPr bwMode="black">
          <a:xfrm>
            <a:off x="2095480" y="2000240"/>
            <a:ext cx="5715040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4800" dirty="0" smtClean="0">
                <a:latin typeface="+mn-lt"/>
              </a:rPr>
              <a:t>Etude de l’existant </a:t>
            </a:r>
            <a:endParaRPr lang="fr-FR" dirty="0">
              <a:latin typeface="+mn-lt"/>
            </a:endParaRPr>
          </a:p>
        </p:txBody>
      </p:sp>
    </p:spTree>
  </p:cSld>
  <p:clrMapOvr>
    <a:masterClrMapping/>
  </p:clrMapOvr>
  <p:transition advClick="0" advTm="1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odélisation du processus basé sur du BPM </a:t>
            </a:r>
            <a:endParaRPr lang="fr-FR" dirty="0"/>
          </a:p>
        </p:txBody>
      </p:sp>
      <p:graphicFrame>
        <p:nvGraphicFramePr>
          <p:cNvPr id="3" name="Diagramme 2"/>
          <p:cNvGraphicFramePr/>
          <p:nvPr/>
        </p:nvGraphicFramePr>
        <p:xfrm>
          <a:off x="4810124" y="2214554"/>
          <a:ext cx="4000810" cy="2886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3"/>
          <p:cNvSpPr/>
          <p:nvPr/>
        </p:nvSpPr>
        <p:spPr>
          <a:xfrm>
            <a:off x="666720" y="1071546"/>
            <a:ext cx="86439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ISO 9000:2000 :"</a:t>
            </a:r>
            <a:r>
              <a:rPr lang="fr-FR" sz="2000" dirty="0" smtClean="0"/>
              <a:t>Ensemble d'activités corrélées ou interactives qui transforme des éléments d'entrée en éléments de sortie</a:t>
            </a:r>
            <a:r>
              <a:rPr lang="fr-FR" dirty="0" smtClean="0"/>
              <a:t>".</a:t>
            </a:r>
            <a:r>
              <a:rPr lang="fr-FR" b="1" dirty="0" smtClean="0"/>
              <a:t> 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309530" y="2357430"/>
            <a:ext cx="564360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000" dirty="0" smtClean="0"/>
              <a:t>Business </a:t>
            </a:r>
            <a:r>
              <a:rPr lang="fr-FR" sz="2000" dirty="0" err="1" smtClean="0"/>
              <a:t>Process</a:t>
            </a:r>
            <a:r>
              <a:rPr lang="fr-FR" sz="2000" dirty="0" smtClean="0"/>
              <a:t> Management  permet :</a:t>
            </a:r>
          </a:p>
          <a:p>
            <a:pPr algn="ctr"/>
            <a:endParaRPr lang="fr-FR" sz="2000" dirty="0" smtClean="0"/>
          </a:p>
          <a:p>
            <a:pPr lvl="3">
              <a:buClr>
                <a:srgbClr val="009BCC"/>
              </a:buClr>
              <a:buFont typeface="Wingdings" pitchFamily="2" charset="2"/>
              <a:buChar char="§"/>
            </a:pPr>
            <a:r>
              <a:rPr lang="fr-FR" sz="2000" dirty="0" smtClean="0"/>
              <a:t> Maîtriser</a:t>
            </a:r>
          </a:p>
          <a:p>
            <a:pPr lvl="3">
              <a:buClr>
                <a:srgbClr val="009BCC"/>
              </a:buClr>
              <a:buFont typeface="Wingdings" pitchFamily="2" charset="2"/>
              <a:buChar char="§"/>
            </a:pPr>
            <a:r>
              <a:rPr lang="fr-FR" sz="2000" dirty="0" smtClean="0"/>
              <a:t> Organiser</a:t>
            </a:r>
          </a:p>
          <a:p>
            <a:pPr lvl="3">
              <a:buClr>
                <a:srgbClr val="009BCC"/>
              </a:buClr>
              <a:buFont typeface="Wingdings" pitchFamily="2" charset="2"/>
              <a:buChar char="§"/>
            </a:pPr>
            <a:r>
              <a:rPr lang="fr-FR" sz="2000" dirty="0" smtClean="0"/>
              <a:t> Planifier </a:t>
            </a:r>
          </a:p>
          <a:p>
            <a:pPr lvl="3">
              <a:buClr>
                <a:srgbClr val="009BCC"/>
              </a:buClr>
              <a:buFont typeface="Wingdings" pitchFamily="2" charset="2"/>
              <a:buChar char="§"/>
            </a:pPr>
            <a:r>
              <a:rPr lang="fr-FR" sz="2000" dirty="0" smtClean="0"/>
              <a:t> Mesurer</a:t>
            </a:r>
          </a:p>
          <a:p>
            <a:pPr>
              <a:buClr>
                <a:srgbClr val="009BCC"/>
              </a:buClr>
            </a:pPr>
            <a:endParaRPr lang="fr-FR" sz="2000" dirty="0" smtClean="0"/>
          </a:p>
        </p:txBody>
      </p:sp>
      <p:sp>
        <p:nvSpPr>
          <p:cNvPr id="6" name="Accolade fermante 5"/>
          <p:cNvSpPr/>
          <p:nvPr/>
        </p:nvSpPr>
        <p:spPr>
          <a:xfrm>
            <a:off x="3024174" y="2928934"/>
            <a:ext cx="571504" cy="1357322"/>
          </a:xfrm>
          <a:prstGeom prst="rightBrac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3667116" y="3429000"/>
            <a:ext cx="18373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Clr>
                <a:srgbClr val="009BCC"/>
              </a:buClr>
            </a:pPr>
            <a:r>
              <a:rPr lang="fr-FR" sz="2000" dirty="0" smtClean="0"/>
              <a:t>Les processus</a:t>
            </a:r>
            <a:endParaRPr lang="fr-FR" sz="2000" dirty="0"/>
          </a:p>
        </p:txBody>
      </p:sp>
      <p:sp>
        <p:nvSpPr>
          <p:cNvPr id="9" name="Chevron 8"/>
          <p:cNvSpPr/>
          <p:nvPr/>
        </p:nvSpPr>
        <p:spPr>
          <a:xfrm rot="10800000">
            <a:off x="9529604" y="4041021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0" name="Chevron 9"/>
          <p:cNvSpPr/>
          <p:nvPr/>
        </p:nvSpPr>
        <p:spPr>
          <a:xfrm rot="10800000">
            <a:off x="9540512" y="4543076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3" name="Rectangle 12"/>
          <p:cNvSpPr/>
          <p:nvPr/>
        </p:nvSpPr>
        <p:spPr>
          <a:xfrm>
            <a:off x="9610139" y="4072825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600200" y="4572891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16" name="Chevron 15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7" name="Rectangle 16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18" name="Chevron 17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9" name="Chevron 18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0" name="Rectangle 19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22" name="Chevron 21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grpSp>
        <p:nvGrpSpPr>
          <p:cNvPr id="26" name="Groupe 25"/>
          <p:cNvGrpSpPr/>
          <p:nvPr/>
        </p:nvGrpSpPr>
        <p:grpSpPr>
          <a:xfrm>
            <a:off x="9516150" y="3214687"/>
            <a:ext cx="2065104" cy="785818"/>
            <a:chOff x="9516150" y="3214687"/>
            <a:chExt cx="2065104" cy="785818"/>
          </a:xfrm>
        </p:grpSpPr>
        <p:sp>
          <p:nvSpPr>
            <p:cNvPr id="8" name="Chevron 7"/>
            <p:cNvSpPr/>
            <p:nvPr/>
          </p:nvSpPr>
          <p:spPr>
            <a:xfrm rot="10800000">
              <a:off x="9538748" y="3214687"/>
              <a:ext cx="2042506" cy="785818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12" name="Rectangle 11"/>
            <p:cNvSpPr/>
            <p:nvPr/>
          </p:nvSpPr>
          <p:spPr>
            <a:xfrm>
              <a:off x="9840685" y="3253875"/>
              <a:ext cx="146706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Etude </a:t>
              </a:r>
            </a:p>
            <a:p>
              <a:r>
                <a:rPr lang="fr-FR" dirty="0" smtClean="0"/>
                <a:t>de l’existant </a:t>
              </a:r>
              <a:endParaRPr lang="fr-FR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9516150" y="3429000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5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3144E-6 -4.81481E-6 L -0.1281 -4.81481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BPM : Etapes</a:t>
            </a:r>
            <a:endParaRPr lang="fr-FR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595678" y="1785926"/>
            <a:ext cx="4857784" cy="4506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ZoneTexte 5"/>
          <p:cNvSpPr txBox="1"/>
          <p:nvPr/>
        </p:nvSpPr>
        <p:spPr>
          <a:xfrm>
            <a:off x="309530" y="2571744"/>
            <a:ext cx="3321743" cy="1938992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>
              <a:buClr>
                <a:srgbClr val="3399FF"/>
              </a:buClr>
              <a:buFont typeface="Wingdings" pitchFamily="2" charset="2"/>
              <a:buChar char="§"/>
            </a:pPr>
            <a:r>
              <a:rPr lang="fr-FR" sz="2000" dirty="0" smtClean="0">
                <a:solidFill>
                  <a:srgbClr val="3399FF"/>
                </a:solidFill>
              </a:rPr>
              <a:t> 1</a:t>
            </a:r>
            <a:r>
              <a:rPr lang="fr-FR" sz="2000" dirty="0" smtClean="0"/>
              <a:t>  Etude de l’existant </a:t>
            </a:r>
          </a:p>
          <a:p>
            <a:pPr>
              <a:buClr>
                <a:srgbClr val="3399FF"/>
              </a:buClr>
              <a:buFont typeface="Wingdings" pitchFamily="2" charset="2"/>
              <a:buChar char="§"/>
            </a:pPr>
            <a:r>
              <a:rPr lang="fr-FR" sz="2000" dirty="0" smtClean="0">
                <a:solidFill>
                  <a:srgbClr val="3399FF"/>
                </a:solidFill>
              </a:rPr>
              <a:t> 2</a:t>
            </a:r>
            <a:r>
              <a:rPr lang="fr-FR" sz="2000" dirty="0" smtClean="0"/>
              <a:t>  As Is</a:t>
            </a:r>
          </a:p>
          <a:p>
            <a:pPr>
              <a:buClr>
                <a:srgbClr val="3399FF"/>
              </a:buClr>
              <a:buFont typeface="Wingdings" pitchFamily="2" charset="2"/>
              <a:buChar char="§"/>
            </a:pPr>
            <a:r>
              <a:rPr lang="fr-FR" sz="2000" dirty="0" smtClean="0">
                <a:solidFill>
                  <a:srgbClr val="3399FF"/>
                </a:solidFill>
              </a:rPr>
              <a:t> 3</a:t>
            </a:r>
            <a:r>
              <a:rPr lang="fr-FR" sz="2000" dirty="0" smtClean="0"/>
              <a:t>  </a:t>
            </a:r>
            <a:r>
              <a:rPr lang="fr-FR" sz="2000" dirty="0" err="1" smtClean="0"/>
              <a:t>Remodéliser</a:t>
            </a:r>
            <a:r>
              <a:rPr lang="fr-FR" sz="2000" dirty="0" smtClean="0"/>
              <a:t> &amp; innover </a:t>
            </a:r>
          </a:p>
          <a:p>
            <a:pPr>
              <a:buClr>
                <a:srgbClr val="3399FF"/>
              </a:buClr>
              <a:buFont typeface="Wingdings" pitchFamily="2" charset="2"/>
              <a:buChar char="§"/>
            </a:pPr>
            <a:r>
              <a:rPr lang="fr-FR" sz="2000" dirty="0" smtClean="0">
                <a:solidFill>
                  <a:srgbClr val="3399FF"/>
                </a:solidFill>
              </a:rPr>
              <a:t> 4</a:t>
            </a:r>
            <a:r>
              <a:rPr lang="fr-FR" sz="2000" dirty="0" smtClean="0"/>
              <a:t>  To Be</a:t>
            </a:r>
          </a:p>
          <a:p>
            <a:pPr>
              <a:buClr>
                <a:srgbClr val="3399FF"/>
              </a:buClr>
              <a:buFont typeface="Wingdings" pitchFamily="2" charset="2"/>
              <a:buChar char="§"/>
            </a:pPr>
            <a:r>
              <a:rPr lang="fr-FR" sz="2000" dirty="0" smtClean="0">
                <a:solidFill>
                  <a:srgbClr val="3399FF"/>
                </a:solidFill>
              </a:rPr>
              <a:t> 5</a:t>
            </a:r>
            <a:r>
              <a:rPr lang="fr-FR" sz="2000" dirty="0" smtClean="0"/>
              <a:t>  Implémentation</a:t>
            </a:r>
          </a:p>
          <a:p>
            <a:pPr>
              <a:buClr>
                <a:srgbClr val="3399FF"/>
              </a:buClr>
              <a:buFont typeface="Wingdings" pitchFamily="2" charset="2"/>
              <a:buChar char="§"/>
            </a:pPr>
            <a:r>
              <a:rPr lang="fr-FR" sz="2000" dirty="0" smtClean="0">
                <a:solidFill>
                  <a:srgbClr val="3399FF"/>
                </a:solidFill>
              </a:rPr>
              <a:t> 6</a:t>
            </a:r>
            <a:r>
              <a:rPr lang="fr-FR" sz="2000" dirty="0" smtClean="0"/>
              <a:t>  Mesurer &amp; contrôler</a:t>
            </a:r>
            <a:endParaRPr lang="fr-FR" sz="2000" dirty="0"/>
          </a:p>
        </p:txBody>
      </p:sp>
      <p:sp>
        <p:nvSpPr>
          <p:cNvPr id="7" name="Chevron 6"/>
          <p:cNvSpPr/>
          <p:nvPr/>
        </p:nvSpPr>
        <p:spPr>
          <a:xfrm rot="10800000">
            <a:off x="9529604" y="407194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8" name="Chevron 7"/>
          <p:cNvSpPr/>
          <p:nvPr/>
        </p:nvSpPr>
        <p:spPr>
          <a:xfrm rot="10800000">
            <a:off x="9540512" y="457399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9610139" y="4143164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600200" y="4643230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14" name="Chevron 13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5" name="Rectangle 14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16" name="Chevron 15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7" name="Chevron 16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8" name="Rectangle 17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19" name="Rectangle 18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20" name="Chevron 19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1" name="Rectangle 20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grpSp>
        <p:nvGrpSpPr>
          <p:cNvPr id="26" name="Groupe 25"/>
          <p:cNvGrpSpPr/>
          <p:nvPr/>
        </p:nvGrpSpPr>
        <p:grpSpPr>
          <a:xfrm>
            <a:off x="8239148" y="3214687"/>
            <a:ext cx="2065104" cy="785818"/>
            <a:chOff x="9516150" y="3214687"/>
            <a:chExt cx="2065104" cy="785818"/>
          </a:xfrm>
        </p:grpSpPr>
        <p:sp>
          <p:nvSpPr>
            <p:cNvPr id="27" name="Chevron 26"/>
            <p:cNvSpPr/>
            <p:nvPr/>
          </p:nvSpPr>
          <p:spPr>
            <a:xfrm rot="10800000">
              <a:off x="9538748" y="3214687"/>
              <a:ext cx="2042506" cy="785818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840685" y="3253875"/>
              <a:ext cx="146706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Etude </a:t>
              </a:r>
            </a:p>
            <a:p>
              <a:r>
                <a:rPr lang="fr-FR" dirty="0" smtClean="0"/>
                <a:t>de l’existant </a:t>
              </a:r>
              <a:endParaRPr lang="fr-FR" dirty="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9516150" y="3429000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5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42852"/>
            <a:ext cx="9906000" cy="357190"/>
          </a:xfrm>
        </p:spPr>
        <p:txBody>
          <a:bodyPr tIns="0" bIns="0"/>
          <a:lstStyle/>
          <a:p>
            <a:r>
              <a:rPr lang="fr-FR" sz="2800" dirty="0" smtClean="0"/>
              <a:t>Processus Actuel : ASIS</a:t>
            </a:r>
            <a:endParaRPr lang="fr-FR" sz="2800" dirty="0"/>
          </a:p>
        </p:txBody>
      </p:sp>
      <p:pic>
        <p:nvPicPr>
          <p:cNvPr id="78853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09713" y="485779"/>
            <a:ext cx="6886575" cy="6372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Chevron 19"/>
          <p:cNvSpPr/>
          <p:nvPr/>
        </p:nvSpPr>
        <p:spPr>
          <a:xfrm rot="10800000">
            <a:off x="9529604" y="4067964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1" name="Chevron 20"/>
          <p:cNvSpPr/>
          <p:nvPr/>
        </p:nvSpPr>
        <p:spPr>
          <a:xfrm rot="10800000">
            <a:off x="9540512" y="4570019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6" name="Rectangle 25"/>
          <p:cNvSpPr/>
          <p:nvPr/>
        </p:nvSpPr>
        <p:spPr>
          <a:xfrm>
            <a:off x="9610139" y="4099768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600200" y="4599834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29" name="Chevron 28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1" name="Chevron 30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Chevron 31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Rectangle 32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5" name="Chevron 3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grpSp>
        <p:nvGrpSpPr>
          <p:cNvPr id="37" name="Groupe 36"/>
          <p:cNvGrpSpPr/>
          <p:nvPr/>
        </p:nvGrpSpPr>
        <p:grpSpPr>
          <a:xfrm>
            <a:off x="8239148" y="3214687"/>
            <a:ext cx="2065104" cy="785818"/>
            <a:chOff x="9516150" y="3214687"/>
            <a:chExt cx="2065104" cy="785818"/>
          </a:xfrm>
        </p:grpSpPr>
        <p:sp>
          <p:nvSpPr>
            <p:cNvPr id="38" name="Chevron 37"/>
            <p:cNvSpPr/>
            <p:nvPr/>
          </p:nvSpPr>
          <p:spPr>
            <a:xfrm rot="10800000">
              <a:off x="9538748" y="3214687"/>
              <a:ext cx="2042506" cy="785818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39" name="Rectangle 38"/>
            <p:cNvSpPr/>
            <p:nvPr/>
          </p:nvSpPr>
          <p:spPr>
            <a:xfrm>
              <a:off x="9840685" y="3253875"/>
              <a:ext cx="146706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Etude </a:t>
              </a:r>
            </a:p>
            <a:p>
              <a:r>
                <a:rPr lang="fr-FR" dirty="0" smtClean="0"/>
                <a:t>de l’existant </a:t>
              </a:r>
              <a:endParaRPr lang="fr-FR" dirty="0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9516150" y="3429000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5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3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09713" y="485779"/>
            <a:ext cx="6886575" cy="6372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42852"/>
            <a:ext cx="9906000" cy="357190"/>
          </a:xfrm>
        </p:spPr>
        <p:txBody>
          <a:bodyPr tIns="0" bIns="0"/>
          <a:lstStyle/>
          <a:p>
            <a:r>
              <a:rPr lang="fr-FR" sz="2800" dirty="0" smtClean="0"/>
              <a:t>Critique du Processus Actuel</a:t>
            </a:r>
            <a:endParaRPr lang="fr-FR" sz="2800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7739082" y="1928802"/>
            <a:ext cx="785818" cy="571504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Rectangle à coins arrondis 5"/>
          <p:cNvSpPr/>
          <p:nvPr/>
        </p:nvSpPr>
        <p:spPr>
          <a:xfrm>
            <a:off x="3667116" y="3643314"/>
            <a:ext cx="1143008" cy="571504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à coins arrondis 6"/>
          <p:cNvSpPr/>
          <p:nvPr/>
        </p:nvSpPr>
        <p:spPr>
          <a:xfrm>
            <a:off x="1523976" y="2786058"/>
            <a:ext cx="785818" cy="571504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Chevron 23"/>
          <p:cNvSpPr/>
          <p:nvPr/>
        </p:nvSpPr>
        <p:spPr>
          <a:xfrm rot="10800000">
            <a:off x="9529604" y="4067964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5" name="Chevron 24"/>
          <p:cNvSpPr/>
          <p:nvPr/>
        </p:nvSpPr>
        <p:spPr>
          <a:xfrm rot="10800000">
            <a:off x="9540512" y="4570019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10139" y="4099768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600200" y="4599834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3" name="Chevron 32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4" name="Rectangle 33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5" name="Chevron 34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Chevron 35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7" name="Rectangle 36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8" name="Rectangle 37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9" name="Chevron 38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0" name="Rectangle 39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grpSp>
        <p:nvGrpSpPr>
          <p:cNvPr id="41" name="Groupe 40"/>
          <p:cNvGrpSpPr/>
          <p:nvPr/>
        </p:nvGrpSpPr>
        <p:grpSpPr>
          <a:xfrm>
            <a:off x="8239148" y="3214687"/>
            <a:ext cx="2065104" cy="785818"/>
            <a:chOff x="9516150" y="3214687"/>
            <a:chExt cx="2065104" cy="785818"/>
          </a:xfrm>
        </p:grpSpPr>
        <p:sp>
          <p:nvSpPr>
            <p:cNvPr id="42" name="Chevron 41"/>
            <p:cNvSpPr/>
            <p:nvPr/>
          </p:nvSpPr>
          <p:spPr>
            <a:xfrm rot="10800000">
              <a:off x="9538748" y="3214687"/>
              <a:ext cx="2042506" cy="785818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9840685" y="3253875"/>
              <a:ext cx="146706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Etude </a:t>
              </a:r>
            </a:p>
            <a:p>
              <a:r>
                <a:rPr lang="fr-FR" dirty="0" smtClean="0"/>
                <a:t>de l’existant </a:t>
              </a:r>
              <a:endParaRPr lang="fr-FR" dirty="0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9516150" y="3429000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5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2571744"/>
            <a:ext cx="9906000" cy="1188000"/>
          </a:xfrm>
        </p:spPr>
        <p:txBody>
          <a:bodyPr/>
          <a:lstStyle/>
          <a:p>
            <a:r>
              <a:rPr lang="fr-FR" sz="4000" dirty="0" smtClean="0"/>
              <a:t>Introduction</a:t>
            </a:r>
            <a:endParaRPr lang="fr-FR" dirty="0"/>
          </a:p>
        </p:txBody>
      </p:sp>
      <p:sp>
        <p:nvSpPr>
          <p:cNvPr id="23" name="Chevron 22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Chevron 23"/>
          <p:cNvSpPr/>
          <p:nvPr/>
        </p:nvSpPr>
        <p:spPr>
          <a:xfrm rot="10800000">
            <a:off x="9529604" y="3712765"/>
            <a:ext cx="363876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5" name="Chevron 24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6" name="Chevron 25"/>
          <p:cNvSpPr/>
          <p:nvPr/>
        </p:nvSpPr>
        <p:spPr>
          <a:xfrm rot="10800000">
            <a:off x="9545083" y="4714886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4" name="Rectangle 33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35" name="Rectangle 34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36" name="Rectangle 35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7" name="Rectangle 36"/>
          <p:cNvSpPr/>
          <p:nvPr/>
        </p:nvSpPr>
        <p:spPr>
          <a:xfrm>
            <a:off x="9590261" y="4734762"/>
            <a:ext cx="15311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8-Conclusion</a:t>
            </a:r>
            <a:endParaRPr lang="fr-FR" dirty="0"/>
          </a:p>
        </p:txBody>
      </p:sp>
      <p:sp>
        <p:nvSpPr>
          <p:cNvPr id="42" name="Chevron 41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3" name="Rectangle 42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44" name="Chevron 43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5" name="Chevron 44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6" name="Rectangle 45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47" name="Rectangle 46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grpSp>
        <p:nvGrpSpPr>
          <p:cNvPr id="28" name="Groupe 27"/>
          <p:cNvGrpSpPr/>
          <p:nvPr/>
        </p:nvGrpSpPr>
        <p:grpSpPr>
          <a:xfrm>
            <a:off x="9541480" y="1214423"/>
            <a:ext cx="2042506" cy="430616"/>
            <a:chOff x="9541480" y="1214423"/>
            <a:chExt cx="2042506" cy="430616"/>
          </a:xfrm>
        </p:grpSpPr>
        <p:sp>
          <p:nvSpPr>
            <p:cNvPr id="48" name="Chevron 47"/>
            <p:cNvSpPr/>
            <p:nvPr/>
          </p:nvSpPr>
          <p:spPr>
            <a:xfrm rot="10800000">
              <a:off x="9541480" y="1214423"/>
              <a:ext cx="2042506" cy="430616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9" name="Rectangle 48"/>
            <p:cNvSpPr/>
            <p:nvPr/>
          </p:nvSpPr>
          <p:spPr>
            <a:xfrm>
              <a:off x="9602932" y="1234300"/>
              <a:ext cx="159530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1-Introduction</a:t>
              </a:r>
            </a:p>
          </p:txBody>
        </p:sp>
      </p:grp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6663E-6 -3.33333E-6 L -0.1738 -0.00231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7" y="-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38 -0.00231 L 0.0008 -0.00231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928670"/>
          </a:xfrm>
        </p:spPr>
        <p:txBody>
          <a:bodyPr/>
          <a:lstStyle/>
          <a:p>
            <a:pPr lvl="0"/>
            <a:r>
              <a:rPr lang="fr-FR" sz="3200" dirty="0" smtClean="0"/>
              <a:t>Critique du Processus Actuel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380968" y="1928802"/>
            <a:ext cx="885831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BCC"/>
              </a:buClr>
            </a:pPr>
            <a:endParaRPr lang="fr-FR" sz="2400" dirty="0" smtClean="0">
              <a:latin typeface="Arial" pitchFamily="34" charset="0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§"/>
            </a:pPr>
            <a:r>
              <a:rPr lang="fr-FR" sz="2400" dirty="0" smtClean="0">
                <a:ea typeface="Times New Roman" pitchFamily="18" charset="0"/>
                <a:cs typeface="Calibri" pitchFamily="34" charset="0"/>
              </a:rPr>
              <a:t>Absence d’un </a:t>
            </a:r>
            <a:r>
              <a:rPr lang="fr-FR" sz="2400" dirty="0" err="1" smtClean="0">
                <a:ea typeface="Times New Roman" pitchFamily="18" charset="0"/>
                <a:cs typeface="Calibri" pitchFamily="34" charset="0"/>
              </a:rPr>
              <a:t>référenciel</a:t>
            </a:r>
            <a:r>
              <a:rPr lang="fr-FR" sz="2400" dirty="0" smtClean="0">
                <a:ea typeface="Times New Roman" pitchFamily="18" charset="0"/>
                <a:cs typeface="Calibri" pitchFamily="34" charset="0"/>
              </a:rPr>
              <a:t> qualité.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§"/>
            </a:pPr>
            <a:endParaRPr lang="fr-FR" sz="2400" dirty="0" smtClean="0">
              <a:ea typeface="Times New Roman" pitchFamily="18" charset="0"/>
              <a:cs typeface="Calibri" pitchFamily="34" charset="0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BCC"/>
              </a:buClr>
              <a:buFont typeface="Wingdings" pitchFamily="2" charset="2"/>
              <a:buChar char="§"/>
            </a:pPr>
            <a:r>
              <a:rPr lang="fr-FR" sz="2400" dirty="0" smtClean="0"/>
              <a:t>Absence d’outils de Capitalisation de la </a:t>
            </a:r>
            <a:r>
              <a:rPr lang="fr-FR" sz="2400" dirty="0" err="1" smtClean="0"/>
              <a:t>DocT</a:t>
            </a:r>
            <a:endParaRPr lang="fr-FR" sz="2400" dirty="0" smtClean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2400" dirty="0" smtClean="0">
              <a:latin typeface="Cambria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Chevron 20"/>
          <p:cNvSpPr/>
          <p:nvPr/>
        </p:nvSpPr>
        <p:spPr>
          <a:xfrm rot="10800000">
            <a:off x="9529604" y="407194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2" name="Chevron 21"/>
          <p:cNvSpPr/>
          <p:nvPr/>
        </p:nvSpPr>
        <p:spPr>
          <a:xfrm rot="10800000">
            <a:off x="9540512" y="457399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7" name="Rectangle 26"/>
          <p:cNvSpPr/>
          <p:nvPr/>
        </p:nvSpPr>
        <p:spPr>
          <a:xfrm>
            <a:off x="9610139" y="4103746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600200" y="4603812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0" name="Chevron 29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1" name="Rectangle 30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2" name="Chevron 31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Chevron 32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4" name="Rectangle 33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6" name="Chevron 35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7" name="Rectangle 36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grpSp>
        <p:nvGrpSpPr>
          <p:cNvPr id="42" name="Groupe 41"/>
          <p:cNvGrpSpPr/>
          <p:nvPr/>
        </p:nvGrpSpPr>
        <p:grpSpPr>
          <a:xfrm>
            <a:off x="8310586" y="3214687"/>
            <a:ext cx="2042506" cy="785818"/>
            <a:chOff x="9538748" y="3214687"/>
            <a:chExt cx="2042506" cy="785818"/>
          </a:xfrm>
        </p:grpSpPr>
        <p:sp>
          <p:nvSpPr>
            <p:cNvPr id="43" name="Chevron 42"/>
            <p:cNvSpPr/>
            <p:nvPr/>
          </p:nvSpPr>
          <p:spPr>
            <a:xfrm rot="10800000">
              <a:off x="9538748" y="3214687"/>
              <a:ext cx="2042506" cy="785818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4" name="Rectangle 43"/>
            <p:cNvSpPr/>
            <p:nvPr/>
          </p:nvSpPr>
          <p:spPr>
            <a:xfrm>
              <a:off x="9840685" y="3253875"/>
              <a:ext cx="146706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Etude </a:t>
              </a:r>
            </a:p>
            <a:p>
              <a:r>
                <a:rPr lang="fr-FR" dirty="0" smtClean="0"/>
                <a:t>de l’existant </a:t>
              </a:r>
              <a:endParaRPr lang="fr-FR" dirty="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9587588" y="3429000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5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722 4.07407E-6 L 0.12506 4.07407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0" y="2786058"/>
            <a:ext cx="104537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 smtClean="0">
                <a:solidFill>
                  <a:srgbClr val="3399FF"/>
                </a:solidFill>
                <a:latin typeface="Cooper Black" pitchFamily="18" charset="0"/>
              </a:rPr>
              <a:t>……………………………………………..</a:t>
            </a:r>
            <a:endParaRPr lang="fr-FR" b="1" dirty="0">
              <a:solidFill>
                <a:srgbClr val="3399FF"/>
              </a:solidFill>
              <a:latin typeface="Cooper Black" pitchFamily="18" charset="0"/>
            </a:endParaRPr>
          </a:p>
        </p:txBody>
      </p:sp>
      <p:sp>
        <p:nvSpPr>
          <p:cNvPr id="16" name="Titre 2"/>
          <p:cNvSpPr txBox="1">
            <a:spLocks/>
          </p:cNvSpPr>
          <p:nvPr/>
        </p:nvSpPr>
        <p:spPr bwMode="black">
          <a:xfrm>
            <a:off x="1452538" y="2214554"/>
            <a:ext cx="7215238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4800" dirty="0" smtClean="0"/>
              <a:t>Mise en œuvre de la solution </a:t>
            </a:r>
          </a:p>
          <a:p>
            <a:endParaRPr lang="fr-FR" dirty="0">
              <a:latin typeface="+mn-lt"/>
            </a:endParaRPr>
          </a:p>
        </p:txBody>
      </p:sp>
    </p:spTree>
  </p:cSld>
  <p:clrMapOvr>
    <a:masterClrMapping/>
  </p:clrMapOvr>
  <p:transition advClick="0" advTm="1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500042"/>
          </a:xfrm>
        </p:spPr>
        <p:txBody>
          <a:bodyPr tIns="0" bIns="0"/>
          <a:lstStyle/>
          <a:p>
            <a:r>
              <a:rPr lang="fr-FR" dirty="0" smtClean="0"/>
              <a:t>Améliorations proposées : ToBe</a:t>
            </a:r>
            <a:endParaRPr lang="fr-FR" dirty="0"/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38224" y="500042"/>
            <a:ext cx="6762750" cy="6357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hevron 3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6" name="Chevron 5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12" name="Chevron 11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3" name="Rectangle 12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14" name="Chevron 13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5" name="Chevron 14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6" name="Rectangle 15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17" name="Rectangle 16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18" name="Chevron 17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9" name="Rectangle 18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grpSp>
        <p:nvGrpSpPr>
          <p:cNvPr id="22" name="Groupe 21"/>
          <p:cNvGrpSpPr/>
          <p:nvPr/>
        </p:nvGrpSpPr>
        <p:grpSpPr>
          <a:xfrm>
            <a:off x="9529604" y="3711363"/>
            <a:ext cx="2495758" cy="646331"/>
            <a:chOff x="9529604" y="3711363"/>
            <a:chExt cx="2495758" cy="646331"/>
          </a:xfrm>
        </p:grpSpPr>
        <p:sp>
          <p:nvSpPr>
            <p:cNvPr id="5" name="Chevron 4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9" name="Rectangle 8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  <p:sp>
        <p:nvSpPr>
          <p:cNvPr id="23" name="Rectangle à coins arrondis 22"/>
          <p:cNvSpPr/>
          <p:nvPr/>
        </p:nvSpPr>
        <p:spPr>
          <a:xfrm>
            <a:off x="1136576" y="2868498"/>
            <a:ext cx="864096" cy="416486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à coins arrondis 23"/>
          <p:cNvSpPr/>
          <p:nvPr/>
        </p:nvSpPr>
        <p:spPr>
          <a:xfrm>
            <a:off x="3584847" y="2868414"/>
            <a:ext cx="1034751" cy="550815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à coins arrondis 24"/>
          <p:cNvSpPr/>
          <p:nvPr/>
        </p:nvSpPr>
        <p:spPr>
          <a:xfrm>
            <a:off x="6537176" y="3941206"/>
            <a:ext cx="864096" cy="639921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Rectangle à coins arrondis 25"/>
          <p:cNvSpPr/>
          <p:nvPr/>
        </p:nvSpPr>
        <p:spPr>
          <a:xfrm>
            <a:off x="6537176" y="3187410"/>
            <a:ext cx="720080" cy="601630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0885E-6 -4.44444E-6 L -0.18101 -0.0041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00" y="-2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5" grpId="0" animBg="1"/>
      <p:bldP spid="26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fr-FR" sz="4400" dirty="0" smtClean="0"/>
              <a:t>Synthèse</a:t>
            </a:r>
            <a:endParaRPr lang="fr-FR" dirty="0"/>
          </a:p>
        </p:txBody>
      </p:sp>
      <p:sp>
        <p:nvSpPr>
          <p:cNvPr id="4" name="Flèche droite 3"/>
          <p:cNvSpPr/>
          <p:nvPr/>
        </p:nvSpPr>
        <p:spPr>
          <a:xfrm>
            <a:off x="309530" y="1857364"/>
            <a:ext cx="1071570" cy="642942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Flèche droite 4"/>
          <p:cNvSpPr/>
          <p:nvPr/>
        </p:nvSpPr>
        <p:spPr>
          <a:xfrm>
            <a:off x="309530" y="2857496"/>
            <a:ext cx="1071570" cy="642942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lèche droite 5"/>
          <p:cNvSpPr/>
          <p:nvPr/>
        </p:nvSpPr>
        <p:spPr>
          <a:xfrm>
            <a:off x="309530" y="4786322"/>
            <a:ext cx="1071570" cy="642942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1738290" y="2928934"/>
            <a:ext cx="12144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BCC"/>
              </a:buClr>
            </a:pPr>
            <a:r>
              <a:rPr lang="fr-FR" sz="2400" dirty="0" smtClean="0">
                <a:latin typeface="Arial" pitchFamily="34" charset="0"/>
              </a:rPr>
              <a:t>Qualité</a:t>
            </a:r>
          </a:p>
        </p:txBody>
      </p:sp>
      <p:sp>
        <p:nvSpPr>
          <p:cNvPr id="8" name="Rectangle 7"/>
          <p:cNvSpPr/>
          <p:nvPr/>
        </p:nvSpPr>
        <p:spPr>
          <a:xfrm>
            <a:off x="1738290" y="1857364"/>
            <a:ext cx="20002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BCC"/>
              </a:buClr>
            </a:pPr>
            <a:r>
              <a:rPr lang="fr-FR" sz="2400" dirty="0" smtClean="0">
                <a:latin typeface="Arial" pitchFamily="34" charset="0"/>
              </a:rPr>
              <a:t>Organisa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1738290" y="4857760"/>
            <a:ext cx="14287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BCC"/>
              </a:buClr>
            </a:pPr>
            <a:r>
              <a:rPr lang="fr-FR" sz="2400" dirty="0" smtClean="0">
                <a:latin typeface="Arial" pitchFamily="34" charset="0"/>
              </a:rPr>
              <a:t>Outillage</a:t>
            </a:r>
          </a:p>
        </p:txBody>
      </p:sp>
      <p:graphicFrame>
        <p:nvGraphicFramePr>
          <p:cNvPr id="10" name="Diagramme 9"/>
          <p:cNvGraphicFramePr/>
          <p:nvPr>
            <p:extLst>
              <p:ext uri="{D42A27DB-BD31-4B8C-83A1-F6EECF244321}">
                <p14:modId xmlns:p14="http://schemas.microsoft.com/office/powerpoint/2010/main" val="3606122599"/>
              </p:ext>
            </p:extLst>
          </p:nvPr>
        </p:nvGraphicFramePr>
        <p:xfrm>
          <a:off x="3881430" y="1428736"/>
          <a:ext cx="5373702" cy="1285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e 10"/>
          <p:cNvGraphicFramePr/>
          <p:nvPr>
            <p:extLst>
              <p:ext uri="{D42A27DB-BD31-4B8C-83A1-F6EECF244321}">
                <p14:modId xmlns:p14="http://schemas.microsoft.com/office/powerpoint/2010/main" val="3606122599"/>
              </p:ext>
            </p:extLst>
          </p:nvPr>
        </p:nvGraphicFramePr>
        <p:xfrm>
          <a:off x="3865578" y="2928934"/>
          <a:ext cx="5373702" cy="571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2" name="Diagramme 11"/>
          <p:cNvGraphicFramePr/>
          <p:nvPr>
            <p:extLst>
              <p:ext uri="{D42A27DB-BD31-4B8C-83A1-F6EECF244321}">
                <p14:modId xmlns:p14="http://schemas.microsoft.com/office/powerpoint/2010/main" val="3606122599"/>
              </p:ext>
            </p:extLst>
          </p:nvPr>
        </p:nvGraphicFramePr>
        <p:xfrm>
          <a:off x="3809992" y="4572008"/>
          <a:ext cx="5373702" cy="1285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3" name="Chevron 12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7" name="Rectangle 16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1" name="Chevron 20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2" name="Rectangle 21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23" name="Chevron 22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Chevron 23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5" name="Rectangle 24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27" name="Chevron 26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8" name="Rectangle 27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8" name="Chevron 37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0" name="Rectangle 39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2" name="Groupe 41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3" name="Chevron 42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4" name="Rectangle 43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500174"/>
            <a:ext cx="9906000" cy="1188000"/>
          </a:xfrm>
        </p:spPr>
        <p:txBody>
          <a:bodyPr/>
          <a:lstStyle/>
          <a:p>
            <a:r>
              <a:rPr lang="fr-FR" sz="5400" dirty="0" smtClean="0">
                <a:latin typeface="+mn-lt"/>
              </a:rPr>
              <a:t>Qualité</a:t>
            </a:r>
            <a:endParaRPr lang="fr-FR" sz="5400" dirty="0">
              <a:latin typeface="+mn-lt"/>
            </a:endParaRPr>
          </a:p>
        </p:txBody>
      </p:sp>
      <p:pic>
        <p:nvPicPr>
          <p:cNvPr id="26626" name="Picture 2" descr="http://www.qualipole.fr/images/stories/manuel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10190" y="3000372"/>
            <a:ext cx="1928826" cy="2071702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1452538" y="5143512"/>
            <a:ext cx="21643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Clr>
                <a:srgbClr val="3399FF"/>
              </a:buClr>
              <a:buSzPct val="150000"/>
              <a:buFont typeface="Wingdings" pitchFamily="2" charset="2"/>
              <a:buChar char="§"/>
            </a:pPr>
            <a:r>
              <a:rPr lang="fr-FR" dirty="0" smtClean="0"/>
              <a:t>Manuel de qualité</a:t>
            </a:r>
          </a:p>
        </p:txBody>
      </p:sp>
      <p:sp>
        <p:nvSpPr>
          <p:cNvPr id="6" name="Rectangle 5"/>
          <p:cNvSpPr/>
          <p:nvPr/>
        </p:nvSpPr>
        <p:spPr>
          <a:xfrm>
            <a:off x="5738818" y="5143512"/>
            <a:ext cx="12538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Clr>
                <a:srgbClr val="3399FF"/>
              </a:buClr>
              <a:buSzPct val="150000"/>
              <a:buFont typeface="Wingdings" pitchFamily="2" charset="2"/>
              <a:buChar char="§"/>
            </a:pPr>
            <a:r>
              <a:rPr lang="fr-FR" dirty="0" smtClean="0"/>
              <a:t>Outillage</a:t>
            </a:r>
            <a:endParaRPr lang="fr-FR" dirty="0"/>
          </a:p>
        </p:txBody>
      </p:sp>
      <p:pic>
        <p:nvPicPr>
          <p:cNvPr id="26628" name="Picture 4" descr="http://c.dryicons.com/images/icon_sets/architecture_blueprint_icons_set/png/512x512/tool_box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95414" y="3000372"/>
            <a:ext cx="1857387" cy="1857388"/>
          </a:xfrm>
          <a:prstGeom prst="rect">
            <a:avLst/>
          </a:prstGeom>
          <a:noFill/>
        </p:spPr>
      </p:pic>
      <p:sp>
        <p:nvSpPr>
          <p:cNvPr id="7" name="Chevron 6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16" name="Chevron 15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7" name="Rectangle 16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18" name="Chevron 17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9" name="Chevron 18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0" name="Rectangle 19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22" name="Chevron 21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6" name="Chevron 35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8" name="Rectangle 37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0" name="Groupe 39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1" name="Chevron 40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2" name="Rectangle 41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Qualité : ISO 9126</a:t>
            </a:r>
            <a:endParaRPr lang="fr-FR" dirty="0"/>
          </a:p>
        </p:txBody>
      </p:sp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6654" y="1220801"/>
            <a:ext cx="9418637" cy="413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ctangle à coins arrondis 3"/>
          <p:cNvSpPr/>
          <p:nvPr/>
        </p:nvSpPr>
        <p:spPr>
          <a:xfrm>
            <a:off x="95216" y="3357562"/>
            <a:ext cx="2928958" cy="1643074"/>
          </a:xfrm>
          <a:prstGeom prst="roundRect">
            <a:avLst/>
          </a:prstGeom>
          <a:noFill/>
          <a:ln w="28575">
            <a:solidFill>
              <a:srgbClr val="009BCC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Chevron 21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5" name="Rectangle 24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31" name="Chevron 30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Rectangle 31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3" name="Chevron 32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4" name="Chevron 33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5" name="Rectangle 34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6" name="Rectangle 35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7" name="Chevron 36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8" name="Rectangle 37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9" name="Chevron 38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1" name="Rectangle 40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3" name="Groupe 42"/>
          <p:cNvGrpSpPr/>
          <p:nvPr/>
        </p:nvGrpSpPr>
        <p:grpSpPr>
          <a:xfrm>
            <a:off x="8167710" y="3711363"/>
            <a:ext cx="2357454" cy="646330"/>
            <a:chOff x="9529604" y="3711363"/>
            <a:chExt cx="2495758" cy="646330"/>
          </a:xfrm>
        </p:grpSpPr>
        <p:sp>
          <p:nvSpPr>
            <p:cNvPr id="44" name="Chevron 43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5" name="Rectangle 44"/>
            <p:cNvSpPr/>
            <p:nvPr/>
          </p:nvSpPr>
          <p:spPr>
            <a:xfrm>
              <a:off x="9906000" y="3711363"/>
              <a:ext cx="2106022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600" dirty="0" smtClean="0"/>
                <a:t>Mise</a:t>
              </a:r>
              <a:r>
                <a:rPr lang="fr-FR" sz="100" dirty="0" smtClean="0"/>
                <a:t> </a:t>
              </a:r>
              <a:r>
                <a:rPr lang="fr-FR" sz="1600" dirty="0" smtClean="0"/>
                <a:t>en</a:t>
              </a:r>
              <a:r>
                <a:rPr lang="fr-FR" sz="100" dirty="0" smtClean="0"/>
                <a:t> </a:t>
              </a:r>
              <a:r>
                <a:rPr lang="fr-FR" sz="1600" dirty="0" smtClean="0"/>
                <a:t>œuvre</a:t>
              </a:r>
            </a:p>
            <a:p>
              <a:r>
                <a:rPr lang="fr-FR" sz="1600" dirty="0" smtClean="0"/>
                <a:t>de la solution 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Qualité : Maintenabilité</a:t>
            </a:r>
            <a:endParaRPr lang="fr-FR" dirty="0"/>
          </a:p>
        </p:txBody>
      </p:sp>
      <p:pic>
        <p:nvPicPr>
          <p:cNvPr id="4" name="Image 3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3844" y="1285860"/>
            <a:ext cx="7715304" cy="464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Chevron 20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Rectangle 23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30" name="Chevron 29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1" name="Rectangle 30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2" name="Chevron 31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Chevron 32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4" name="Rectangle 33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6" name="Chevron 35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7" name="Rectangle 36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8" name="Chevron 37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0" name="Rectangle 39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2" name="Groupe 41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3" name="Chevron 42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4" name="Rectangle 43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  <p:sp>
        <p:nvSpPr>
          <p:cNvPr id="20" name="Rectangle 19"/>
          <p:cNvSpPr/>
          <p:nvPr/>
        </p:nvSpPr>
        <p:spPr>
          <a:xfrm>
            <a:off x="166654" y="635795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Source : </a:t>
            </a:r>
            <a:r>
              <a:rPr lang="fr-FR" dirty="0" err="1" smtClean="0"/>
              <a:t>Qualixo</a:t>
            </a:r>
            <a:r>
              <a:rPr lang="fr-FR" dirty="0" smtClean="0"/>
              <a:t> </a:t>
            </a:r>
            <a:endParaRPr lang="fr-FR" dirty="0"/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Qualité : Maintenabilité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/>
        </p:nvGraphicFramePr>
        <p:xfrm>
          <a:off x="523844" y="1054136"/>
          <a:ext cx="8786874" cy="5446698"/>
        </p:xfrm>
        <a:graphic>
          <a:graphicData uri="http://schemas.openxmlformats.org/drawingml/2006/table">
            <a:tbl>
              <a:tblPr/>
              <a:tblGrid>
                <a:gridCol w="1143008"/>
                <a:gridCol w="3214710"/>
                <a:gridCol w="4429156"/>
              </a:tblGrid>
              <a:tr h="2597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mbria"/>
                          <a:ea typeface="Times New Roman"/>
                          <a:cs typeface="Times New Roman"/>
                        </a:rPr>
                        <a:t>Facteur</a:t>
                      </a:r>
                      <a:endParaRPr lang="fr-FR" sz="16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mbria"/>
                          <a:ea typeface="Times New Roman"/>
                          <a:cs typeface="Times New Roman"/>
                        </a:rPr>
                        <a:t>Critères</a:t>
                      </a:r>
                      <a:endParaRPr lang="fr-FR" sz="16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mbria"/>
                          <a:ea typeface="Times New Roman"/>
                          <a:cs typeface="Times New Roman"/>
                        </a:rPr>
                        <a:t>Pratiques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rowSpan="19">
                  <a:txBody>
                    <a:bodyPr/>
                    <a:lstStyle/>
                    <a:p>
                      <a:pPr marL="71755" marR="7175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600" dirty="0">
                        <a:latin typeface="Cambria"/>
                        <a:ea typeface="Times New Roman"/>
                        <a:cs typeface="Times New Roman"/>
                      </a:endParaRPr>
                    </a:p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3600" b="1" dirty="0">
                          <a:latin typeface="Cambria"/>
                          <a:ea typeface="Times New Roman"/>
                          <a:cs typeface="Times New Roman"/>
                        </a:rPr>
                        <a:t>MAINTENABILITE</a:t>
                      </a:r>
                      <a:endParaRPr lang="fr-FR" sz="16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 vert="vert27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400">
                        <a:latin typeface="Cambria"/>
                        <a:ea typeface="Times New Roman"/>
                        <a:cs typeface="Arial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>
                          <a:latin typeface="Cambria"/>
                          <a:ea typeface="Times New Roman"/>
                          <a:cs typeface="Arial"/>
                        </a:rPr>
                        <a:t>Homogénéité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Normes et standards" : mise en forme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Normes et standards" : nommage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Normes et standards" : programmation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400">
                        <a:latin typeface="Cambria"/>
                        <a:ea typeface="Times New Roman"/>
                        <a:cs typeface="Arial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>
                          <a:latin typeface="Cambria"/>
                          <a:ea typeface="Times New Roman"/>
                          <a:cs typeface="Arial"/>
                        </a:rPr>
                        <a:t>Compréhension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Profondeur héritage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Spécialisation de la classe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Documentation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Qualité de la documentation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Normes et standard" - documentation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400">
                        <a:latin typeface="Cambria"/>
                        <a:ea typeface="Times New Roman"/>
                        <a:cs typeface="Arial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>
                          <a:latin typeface="Cambria"/>
                          <a:ea typeface="Times New Roman"/>
                          <a:cs typeface="Arial"/>
                        </a:rPr>
                        <a:t>Simplicité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Spaghetti code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Nombre de méthodes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Taille procédure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</a:tr>
              <a:tr h="42253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400">
                        <a:latin typeface="Cambria"/>
                        <a:ea typeface="Times New Roman"/>
                        <a:cs typeface="Arial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>
                          <a:latin typeface="Cambria"/>
                          <a:ea typeface="Times New Roman"/>
                          <a:cs typeface="Arial"/>
                        </a:rPr>
                        <a:t>Niveau d'interdépendance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200">
                        <a:latin typeface="Cambria"/>
                        <a:ea typeface="Times New Roman"/>
                        <a:cs typeface="Arial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Couplage classe efférent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>
                          <a:latin typeface="Cambria"/>
                          <a:ea typeface="Times New Roman"/>
                          <a:cs typeface="Arial"/>
                        </a:rPr>
                        <a:t>Modélisation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Diagrammes de modélisation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Pré-détection d'anti-patterns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Conformité entre modélisation et implémentation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Raisonnement par les modèles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400">
                        <a:latin typeface="Cambria"/>
                        <a:ea typeface="Times New Roman"/>
                        <a:cs typeface="Arial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>
                          <a:latin typeface="Cambria"/>
                          <a:ea typeface="Times New Roman"/>
                          <a:cs typeface="Arial"/>
                        </a:rPr>
                        <a:t>Modularité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>
                          <a:latin typeface="Cambria"/>
                          <a:ea typeface="Times New Roman"/>
                          <a:cs typeface="Arial"/>
                        </a:rPr>
                        <a:t>Pratique "Copier-coller"</a:t>
                      </a:r>
                      <a:endParaRPr lang="fr-FR" sz="16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FEE"/>
                    </a:solidFill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Cambria"/>
                          <a:ea typeface="Times New Roman"/>
                          <a:cs typeface="Arial"/>
                        </a:rPr>
                        <a:t>Pratique "Cohésion Classe"</a:t>
                      </a:r>
                      <a:endParaRPr lang="fr-FR" sz="16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5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Cambria"/>
                          <a:ea typeface="Times New Roman"/>
                          <a:cs typeface="Arial"/>
                        </a:rPr>
                        <a:t>Pratique "Couteau suisse"</a:t>
                      </a:r>
                      <a:endParaRPr lang="fr-FR" sz="16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7913" marR="47913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abarit du manuel de qualité</a:t>
            </a:r>
            <a:endParaRPr lang="fr-FR" dirty="0"/>
          </a:p>
        </p:txBody>
      </p:sp>
      <p:pic>
        <p:nvPicPr>
          <p:cNvPr id="3" name="Image 2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52472" y="1285861"/>
            <a:ext cx="7715304" cy="5214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Chevron 19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9" name="Chevron 28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1" name="Chevron 30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Chevron 31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Rectangle 32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5" name="Chevron 3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7" name="Chevron 36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9" name="Rectangle 38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1" name="Groupe 40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2" name="Chevron 41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utillage : Qualité </a:t>
            </a:r>
            <a:endParaRPr lang="fr-FR" dirty="0"/>
          </a:p>
        </p:txBody>
      </p:sp>
      <p:pic>
        <p:nvPicPr>
          <p:cNvPr id="21506" name="Picture 2" descr="http://wrestt.cis.fiu.edu/cen/includes/special/images/jdepend-logo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09728" y="2428868"/>
            <a:ext cx="1752600" cy="590551"/>
          </a:xfrm>
          <a:prstGeom prst="rect">
            <a:avLst/>
          </a:prstGeom>
          <a:noFill/>
        </p:spPr>
      </p:pic>
      <p:pic>
        <p:nvPicPr>
          <p:cNvPr id="21508" name="Picture 4" descr="http://wrestt.cis.fiu.edu/cen/includes/special/images/Junit-logo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24570" y="2071678"/>
            <a:ext cx="1276350" cy="676276"/>
          </a:xfrm>
          <a:prstGeom prst="rect">
            <a:avLst/>
          </a:prstGeom>
          <a:noFill/>
        </p:spPr>
      </p:pic>
      <p:pic>
        <p:nvPicPr>
          <p:cNvPr id="21510" name="Picture 6" descr="http://wrestt.cis.fiu.edu/includes/special/images/coberturalog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953132" y="3357562"/>
            <a:ext cx="1809750" cy="523875"/>
          </a:xfrm>
          <a:prstGeom prst="rect">
            <a:avLst/>
          </a:prstGeom>
          <a:noFill/>
        </p:spPr>
      </p:pic>
      <p:pic>
        <p:nvPicPr>
          <p:cNvPr id="21512" name="Picture 8" descr="https://encrypted-tbn0.gstatic.com/images?q=tbn:ANd9GcQz9NyVg3kT0F_u6JtG9D-Kw3SSfPlyWInvpRI5t7ZUAxnZmA_E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738554" y="2643182"/>
            <a:ext cx="2143125" cy="2143125"/>
          </a:xfrm>
          <a:prstGeom prst="rect">
            <a:avLst/>
          </a:prstGeom>
          <a:noFill/>
        </p:spPr>
      </p:pic>
      <p:pic>
        <p:nvPicPr>
          <p:cNvPr id="21514" name="Picture 10" descr="http://pmd.sourceforge.net/pmd_logo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81100" y="3571876"/>
            <a:ext cx="2000264" cy="1466860"/>
          </a:xfrm>
          <a:prstGeom prst="rect">
            <a:avLst/>
          </a:prstGeom>
          <a:noFill/>
        </p:spPr>
      </p:pic>
      <p:sp>
        <p:nvSpPr>
          <p:cNvPr id="21516" name="AutoShape 12" descr="data:image/jpeg;base64,/9j/4AAQSkZJRgABAQAAAQABAAD/2wCEAAkGBhQSERUUBxMUFBUWFh0YGBgWGSAeIBohHCUXIx4cHiMbICYqICUnICIbJzEjJjM1LDg4IB4xQTotPCo3LSkBCQoKDgsOGQ4OGSskHiQ1NS0zNTU1MTI1NTU1NDU1NTY1NTU1LDU1NSk1NS01LjU1NS4wLC0tLTMtLDUtNS0sNP/AABEIAEkAVAMBIgACEQEDEQH/xAAbAAADAQEBAQEAAAAAAAAAAAAABQYEBwMBAv/EADkQAAIBAgUDAgMFBQkBAAAAAAECAwQRAAUSITEGE0EiUTJhgQcUFSNxJEJSobElMzRDkZLB0fEW/8QAGQEBAAIDAAAAAAAAAAAAAAAAAAIEAQMF/8QAKxEAAgEDAgMGBwAAAAAAAAAAAAECAxEhBEExYZESEyJRsdEFIzJCcaHB/9oADAMBAAIRAxEAPwDuODBgwAYMGDABidrK6dqiQUDoqxKtw/BJ+dtvbEvW9YZnJX1tPkYoFipTGC1RrB/MFxuHA5B8DxjJTfjKmQRSZSWdtbet7+T4fi1zitqITqWUXbz229ypqqdSr2Ywdle7s7bY/di3Gc1Ef+Npyw/iiN/rb/zEzN1jWJPLIio8IYBYGOmTSB8S7ck8i5PgC2+MUVRnIF45Mn39OoPIN7fJ7Xsf6YKTPcxFfS0nUqUEqVSyMrxKxNkUnkt723seTjQ6WoS8M+vurejJaaWo0zb8M09pq/RrstPnkuMj6rgqtoW0SeYn2cfTz+ow5xDZnksTVQjplZSI7kx7lWOwI1HgXF7b8/T7Fn9VRC+bWq6a+1REPUvPxqP6/wAzidDUSkn3i4O10XtHCWvjKVNKLTta97+dm0ujz+S4wYx5Zm0VRGJKBw6Ha49x4IPB+RwYuJ3yiEoyg3GSs0bMec86opaY2A3JwVEhVSYlLkC4UWBPy32xO1MmYuFjovuwJZtdQGJCKHayrGQdThQASTa5+gyRN3/0avHDJlcbzLMbhgNIVN7yOXtZfYWJPgHcjLH1Swkj+/RLFDK2mKVplu190uhAI1DwCSNvpO5d0lUQxwSUsiCtIeGqJlJ7gkub3IJ1xWVlG2wZeDhTP9n1QY4Q9DS645Y2mlWdmlnAuHKs6jSWBLG5+WAK2nq6Ze/VTQvSrMyK1QSmmUKdMb+lmsrX2LAAgj3xomoGiQmLS689y4BItax0wtYEG21+L7cYjqnOKuPKVSkajeFUSOKoD6jOAVVEELJtI1tJBJsdX0sMnoJKUmHKqeHtmoLPaZvSj3YtpIazDYabgEWII4wB5xZiFGlIkcA7F1e/ixOmGw4Nh8h+mJ/qQ/21lHaXTaOo9Ki1iBuACB5v4GKrOaJV7fc0hA1luD6bkFgWMi8/W1sQ/VzJBm2XSUAIHZqdJ1FgfQFVgdR2O1sQqSUYOT4JGurJQhKT4JNlPSVLGWSaM7u5C2sfSth8PJHzU3GP11LmpSFRlij71VflJoP+5zxwPJ3Hng4+5NBGI/2vgIGI4AHJkJJtt/Epvjx6MgNVM9dU3Ki8VMG3IQE3Y+5PF/1GKVGMlTjDd59zqfDKMdPpo1Kq+lXfOUru3POXyTKLp/JVpadIYQPSNz/EfJ/1/wCMGGWDF9JJWRSqVJVJOcndvIn6szhqWleamCllaMANe3rdFPBHgnEj0/8AiC00zZOaYRxVNUUjdWZprTTEgsGHb3uo2Pufm0r+nXro3j+/S9tKliy9oAkq6OsZJAJRLWBHN+TbCvOsjNBDL3cylhgqqh9SrAJGvMznTEQCUJG3B3uwsTjJAQ0XWsccslYIVdZKiSVQw9a/skLBVINgWNlJ9sXuW/iaSRNmZppopL91Y1KNBsSCpZj3FvsbgHggHEjlOR5dUTmnppmVWMjinkheIlGgSGymQDVp06rje/6XxX5b0tUrJEczr5Z44d0QIseo2IBlZT+ZYHjYE7kHACJ8jE9fUN03BQwPTMFaaSDW0krKrmwVlCAArd92Jv8AVVD1HPBUVr1hpqSWSSlWZpW1LFaFrlAGvKWsNKg3F7njFjmXS8wmlnyOram7wBmXtLKCVFhIoPwvpAHkGwuDhFln2eBilXlFZL3DoeOSeMuSNBRu4shBJa9/FtgNsAO8kzhqxqqKfSyLoeGVVI1JKrFbhwbMpDC/tb54juq8pf8AGMtifhkmt6gdti3CLbbfg4vcu6dkjmSaqqnlYIyvdVUPcgrsuwVd7Dnfnm8j9oGZpT5zls1V8McNST7n07AfMmwxCaUotS4Duu++UlftY64NnUcDyVC0FC396A0xXbTGOdQ41H3FvG24xdU1OsaKkACqoAAHgDjE70TlTBGqsx3nqTra/wC6v7iD2Frfy9sU+IUo/e9/Q6Wvq5VCLxHi/OW7/i5IMGDBjcc0jJaKSaqekraqojGpqlRG2kyRsVUIHG6iN+QOdS74ks0eVav7vV1ElQkGaZeIzIRqUMrtYkAXPFzydsdI6joA8fcjgM8iBggV+29nBVwr3Frg3sTa4U8gESlF0DTqtS2daYYpJ4pIgs5DJ2lKq7yXBMhYuTud/JwBo+12p7dNTyUo1VEdVG8CjkldRcfpoDXxPZfmNb24KqnjzJpXaOSQyywinkR9OpVXuekWPoIF76ecXGWdLUVPUK8ZL1Gk6DNO8rqp50CRiQDvcj5i+E/S2S5fN2qiKMxEyyNFTvMxRXjkkUukZbSDdSRYbX2wBky6llmy9MxmzGaKZ07xJb8hb/5Rj2GkfDe+q/nxjH0es+YXGY1tUqrR0r2ifSS8iyXckC/gGx52J9sVFV0Tl4nDVI0l5DIITM4jZ73LiLXpJub7DnfDPKMgpqMgUQCF0SIAuTqEQfSAGPIBY7YAXdMLItHBV9SzSd1acmXU2lAGs12RbC4AG/POIvPs3o8zzvLFoJknRVmL6D7DUAbjg6ePbHUocrjEXaZdaWIIf1arkk31Xvck848aTpylicPR00EbjhkiRSL7GxAvxg1fBmMnFqS4oYgYMGDAwGDBgwAYSSdHUrStJLCrB0CNGwBjNmdtWgi2q7N6udzh3gwBzyTomKKhhbsLDUJUQsHTVMyaZVAVX3bRo9NuFB+WFeW5blgoJ0q2hNRrm/MVG7qsZJTEYgQH9Ppto2uDjq2Mx+Nf0/7wBz+DpCaaOY1cFNUVDyBZJa6Nh6VSOwjCavTe+4ZbHVtiryTpFIZPvFaxnqiiK0rjYaVVT214jDWuQNzfcnD4Y+4AMGDBgAwYMGADBgwYA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1518" name="AutoShape 14" descr="data:image/jpeg;base64,/9j/4AAQSkZJRgABAQAAAQABAAD/2wCEAAkGBhQSERUUBxMUFBUWFh0YGBgWGSAeIBohHCUXIx4cHiMbICYqICUnICIbJzEjJjM1LDg4IB4xQTotPCo3LSkBCQoKDgsOGQ4OGSskHiQ1NS0zNTU1MTI1NTU1NDU1NTY1NTU1LDU1NSk1NS01LjU1NS4wLC0tLTMtLDUtNS0sNP/AABEIAEkAVAMBIgACEQEDEQH/xAAbAAADAQEBAQEAAAAAAAAAAAAABQYEBwMBAv/EADkQAAIBAgUDAgMFBQkBAAAAAAECAwQRAAUSITEGE0EiUTJhgQcUFSNxJEJSobElMzRDkZLB0fEW/8QAGQEBAAIDAAAAAAAAAAAAAAAAAAIEAQMF/8QAKxEAAgEDAgMGBwAAAAAAAAAAAAECAxEhBEExYZESEyJRsdEFIzJCcaHB/9oADAMBAAIRAxEAPwDuODBgwAYMGDABidrK6dqiQUDoqxKtw/BJ+dtvbEvW9YZnJX1tPkYoFipTGC1RrB/MFxuHA5B8DxjJTfjKmQRSZSWdtbet7+T4fi1zitqITqWUXbz229ypqqdSr2Ywdle7s7bY/di3Gc1Ef+Npyw/iiN/rb/zEzN1jWJPLIio8IYBYGOmTSB8S7ck8i5PgC2+MUVRnIF45Mn39OoPIN7fJ7Xsf6YKTPcxFfS0nUqUEqVSyMrxKxNkUnkt723seTjQ6WoS8M+vurejJaaWo0zb8M09pq/RrstPnkuMj6rgqtoW0SeYn2cfTz+ow5xDZnksTVQjplZSI7kx7lWOwI1HgXF7b8/T7Fn9VRC+bWq6a+1REPUvPxqP6/wAzidDUSkn3i4O10XtHCWvjKVNKLTta97+dm0ujz+S4wYx5Zm0VRGJKBw6Ha49x4IPB+RwYuJ3yiEoyg3GSs0bMec86opaY2A3JwVEhVSYlLkC4UWBPy32xO1MmYuFjovuwJZtdQGJCKHayrGQdThQASTa5+gyRN3/0avHDJlcbzLMbhgNIVN7yOXtZfYWJPgHcjLH1Swkj+/RLFDK2mKVplu190uhAI1DwCSNvpO5d0lUQxwSUsiCtIeGqJlJ7gkub3IJ1xWVlG2wZeDhTP9n1QY4Q9DS645Y2mlWdmlnAuHKs6jSWBLG5+WAK2nq6Ze/VTQvSrMyK1QSmmUKdMb+lmsrX2LAAgj3xomoGiQmLS689y4BItax0wtYEG21+L7cYjqnOKuPKVSkajeFUSOKoD6jOAVVEELJtI1tJBJsdX0sMnoJKUmHKqeHtmoLPaZvSj3YtpIazDYabgEWII4wB5xZiFGlIkcA7F1e/ixOmGw4Nh8h+mJ/qQ/21lHaXTaOo9Ki1iBuACB5v4GKrOaJV7fc0hA1luD6bkFgWMi8/W1sQ/VzJBm2XSUAIHZqdJ1FgfQFVgdR2O1sQqSUYOT4JGurJQhKT4JNlPSVLGWSaM7u5C2sfSth8PJHzU3GP11LmpSFRlij71VflJoP+5zxwPJ3Hng4+5NBGI/2vgIGI4AHJkJJtt/Epvjx6MgNVM9dU3Ki8VMG3IQE3Y+5PF/1GKVGMlTjDd59zqfDKMdPpo1Kq+lXfOUru3POXyTKLp/JVpadIYQPSNz/EfJ/1/wCMGGWDF9JJWRSqVJVJOcndvIn6szhqWleamCllaMANe3rdFPBHgnEj0/8AiC00zZOaYRxVNUUjdWZprTTEgsGHb3uo2Pufm0r+nXro3j+/S9tKliy9oAkq6OsZJAJRLWBHN+TbCvOsjNBDL3cylhgqqh9SrAJGvMznTEQCUJG3B3uwsTjJAQ0XWsccslYIVdZKiSVQw9a/skLBVINgWNlJ9sXuW/iaSRNmZppopL91Y1KNBsSCpZj3FvsbgHggHEjlOR5dUTmnppmVWMjinkheIlGgSGymQDVp06rje/6XxX5b0tUrJEczr5Z44d0QIseo2IBlZT+ZYHjYE7kHACJ8jE9fUN03BQwPTMFaaSDW0krKrmwVlCAArd92Jv8AVVD1HPBUVr1hpqSWSSlWZpW1LFaFrlAGvKWsNKg3F7njFjmXS8wmlnyOram7wBmXtLKCVFhIoPwvpAHkGwuDhFln2eBilXlFZL3DoeOSeMuSNBRu4shBJa9/FtgNsAO8kzhqxqqKfSyLoeGVVI1JKrFbhwbMpDC/tb54juq8pf8AGMtifhkmt6gdti3CLbbfg4vcu6dkjmSaqqnlYIyvdVUPcgrsuwVd7Dnfnm8j9oGZpT5zls1V8McNST7n07AfMmwxCaUotS4Duu++UlftY64NnUcDyVC0FC396A0xXbTGOdQ41H3FvG24xdU1OsaKkACqoAAHgDjE70TlTBGqsx3nqTra/wC6v7iD2Frfy9sU+IUo/e9/Q6Wvq5VCLxHi/OW7/i5IMGDBjcc0jJaKSaqekraqojGpqlRG2kyRsVUIHG6iN+QOdS74ks0eVav7vV1ElQkGaZeIzIRqUMrtYkAXPFzydsdI6joA8fcjgM8iBggV+29nBVwr3Frg3sTa4U8gESlF0DTqtS2daYYpJ4pIgs5DJ2lKq7yXBMhYuTud/JwBo+12p7dNTyUo1VEdVG8CjkldRcfpoDXxPZfmNb24KqnjzJpXaOSQyywinkR9OpVXuekWPoIF76ecXGWdLUVPUK8ZL1Gk6DNO8rqp50CRiQDvcj5i+E/S2S5fN2qiKMxEyyNFTvMxRXjkkUukZbSDdSRYbX2wBky6llmy9MxmzGaKZ07xJb8hb/5Rj2GkfDe+q/nxjH0es+YXGY1tUqrR0r2ifSS8iyXckC/gGx52J9sVFV0Tl4nDVI0l5DIITM4jZ73LiLXpJub7DnfDPKMgpqMgUQCF0SIAuTqEQfSAGPIBY7YAXdMLItHBV9SzSd1acmXU2lAGs12RbC4AG/POIvPs3o8zzvLFoJknRVmL6D7DUAbjg6ePbHUocrjEXaZdaWIIf1arkk31Xvck848aTpylicPR00EbjhkiRSL7GxAvxg1fBmMnFqS4oYgYMGDAwGDBgwAYSSdHUrStJLCrB0CNGwBjNmdtWgi2q7N6udzh3gwBzyTomKKhhbsLDUJUQsHTVMyaZVAVX3bRo9NuFB+WFeW5blgoJ0q2hNRrm/MVG7qsZJTEYgQH9Ppto2uDjq2Mx+Nf0/7wBz+DpCaaOY1cFNUVDyBZJa6Nh6VSOwjCavTe+4ZbHVtiryTpFIZPvFaxnqiiK0rjYaVVT214jDWuQNzfcnD4Y+4AMGDBgAwYMGADBgwYA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1520" name="Picture 16" descr="http://www.x2i.fr/files/logo3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881826" y="4214818"/>
            <a:ext cx="952500" cy="828676"/>
          </a:xfrm>
          <a:prstGeom prst="rect">
            <a:avLst/>
          </a:prstGeom>
          <a:noFill/>
        </p:spPr>
      </p:pic>
      <p:sp>
        <p:nvSpPr>
          <p:cNvPr id="21522" name="AutoShape 18" descr="data:image/jpeg;base64,/9j/4AAQSkZJRgABAQAAAQABAAD/2wCEAAkGBggGBQkIBwgKCQkKDRYODQwYDRoeIBAWHxwhIB8cHh4jJi0qIyUvMB4eKzgsLzM1ODg0ISk9ODw2NSw3ODEBCQoKDQsNGQ4OGTUkHyQ1NTU1NTU1NTU0NTU1NTI1NTU1NTQ1NDQ0NTU1NTU1NTU1LDU1LjU1NSw1NTUtNTU1Nf/AABEIADcAQAMBIgACEQEDEQH/xAAbAAACAwEBAQAAAAAAAAAAAAAABQMEBgECB//EADkQAAEDAwEDCQUHBQEAAAAAAAECAwQABREhBhIUEyIxMkFRVZTSFSRhgZFCUnFykqKxI2NzgsIW/8QAGAEBAQEBAQAAAAAAAAAAAAAAAwIEAQD/xAArEQABAgQFAgYDAQAAAAAAAAACAAEDESFBElGBodExUhMiYZHh8HGi0kL/2gAMAwEAAhEDEQA/APuNFLHYt5U8stXCIhsqO6kxCSB2DO/rVeWm8w4jsh25ww2ygrV7megDP36ZoTPRibfhA8Vxq4PtypYbzkzaWasOL4eIhMcJzopw85Rx3gbo+tNqzVkt15atiHEzorSpJMhxJikkKXqcnfHfj5Vf4S+eJQ/Jn10saGGKTG1KX4RQYh4JuD1ra+qbUUp4S+eJQ/Jn10cJfPEofkz66Lwx7234S+KXY+3KbUpDzkvastIcUGILGXEhRwpxZ0B78AZ+dcXHvTaFLXdIQSkZJ4M6D9dUdmY1zcYFwclsbk5ziHEGOckHQYVvaaAdhxShDEQI8TZXvplNEcQiMQwvna2uclpaTbR+8oiWwdM58JWP7aecv+APnTmk0T37aqXI6W4TYjI/OrnL/wCRRwKE55V43Sx6iwd1NL7KltTMafjW7hX0r5O8xmXN1fVUHBlJx/FU2tsZjtziMoMN1uXKXF3UNuEMqCVlJLvUX1NUgDtwdKb/APnrEu6i78m2XuWCt7ljuF7qb25nd3+zOM5+NQMWHZ2NdGGGnEJlRnS+xG4tR5FRySUNlXNB3jkAYrUBwGDC7O8p2+9KfeqSdV4O10qZGLvDR2+GtxkSwpzdCHt4pCN49UZbcJJzpivez+08m5X7gHiw+2uHxKH0MOtgYWElPP63SOcMfhV4QbAmRPt2YpeualLkxi6Cp3KdebnOMZOnxNeLbbrHBvfuskOXJtkskKmKWvk8g7pClE4GB+HzrhFBcSkD+n38r1VNtM4o2oQ2iQ7PcTGSe4K6x+SQqmjTaWWkNtgJQgBKR3AUoPv+16R0t21jJ/yOdH0SP3U5rNE8oCGvv8SRQ/MZHp7fM1DLkohw3pDpwhlBWr8AM1S2cjLj2VpT4/ryCZDv5lneP0yB8qVbQxLjIfYt/tJCm57xTyXDDmNp5x1zrjAHxzTH2defGm/JJ9VL4YjCZsbVre2mc0PiEUV3wP5aW6vrlJZxm2zIUSOWozqmJl0St5oNnLS0y97lSPuqSNT8EntNXbbw8aAxb5VqeeuSZAU4eHVhTm/kv8rjGPtZznsxnSm3s68+NN+ST6qPZ158ab8kn1UxRhJqk3Wf+uEuM+x/15WfdaWLsW2o7y3FXAOmG5BJHXyXESABgfaGSfu46AORkFm5sJQy8oNy1OuRXYRHDakqcTIAAIGSRkneBx0mtD7OvPjTfkk+qlt9jXZEJEVV2S6ZzgjBAiAaK6xznsGTSBEE3w4m3/n59VBxiAXLA+3KZbMoU5bVznAQ5PdVII7knRA/SE03pM3aru02lDd5bShIASOCToB/tU0eDdW5CFP3ZDrYOVI4RI3h3ZzpWKKwmTljbfhVCIwFhwPtyuohvObTOS3k4ZZjhpjUalRys/DoSKZUUUJk5SnZOAMM5XRRRRUK0UtehvSNpI77iRw0VhRbOelxRwdPgB+6uUVYE4zdlBgxyZ0zoooqFa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1524" name="Picture 20" descr="http://cloud.ohloh.net/attachments/30652/javancssLogo_med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310058" y="1714488"/>
            <a:ext cx="928694" cy="798096"/>
          </a:xfrm>
          <a:prstGeom prst="rect">
            <a:avLst/>
          </a:prstGeom>
          <a:noFill/>
        </p:spPr>
      </p:pic>
      <p:sp>
        <p:nvSpPr>
          <p:cNvPr id="29" name="Chevron 28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Rectangle 31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38" name="Chevron 37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9" name="Rectangle 38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40" name="Chevron 39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1" name="Chevron 40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2" name="Rectangle 41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43" name="Rectangle 42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44" name="Chevron 43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5" name="Rectangle 44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46" name="Chevron 45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8" name="Rectangle 47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50" name="Groupe 49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51" name="Chevron 50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52" name="Rectangle 51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0" y="2786058"/>
            <a:ext cx="104537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 smtClean="0">
                <a:solidFill>
                  <a:srgbClr val="3399FF"/>
                </a:solidFill>
                <a:latin typeface="Cooper Black" pitchFamily="18" charset="0"/>
              </a:rPr>
              <a:t>……………………………………………..</a:t>
            </a:r>
            <a:endParaRPr lang="fr-FR" b="1" dirty="0">
              <a:solidFill>
                <a:srgbClr val="3399FF"/>
              </a:solidFill>
              <a:latin typeface="Cooper Black" pitchFamily="18" charset="0"/>
            </a:endParaRPr>
          </a:p>
        </p:txBody>
      </p:sp>
      <p:sp>
        <p:nvSpPr>
          <p:cNvPr id="16" name="Titre 2"/>
          <p:cNvSpPr txBox="1">
            <a:spLocks/>
          </p:cNvSpPr>
          <p:nvPr/>
        </p:nvSpPr>
        <p:spPr bwMode="black">
          <a:xfrm>
            <a:off x="1666852" y="1928802"/>
            <a:ext cx="6786610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4800" dirty="0" smtClean="0">
                <a:latin typeface="+mn-lt"/>
              </a:rPr>
              <a:t>Organisme d’accueil</a:t>
            </a:r>
            <a:endParaRPr lang="fr-FR" dirty="0">
              <a:latin typeface="+mn-lt"/>
            </a:endParaRPr>
          </a:p>
        </p:txBody>
      </p:sp>
    </p:spTree>
  </p:cSld>
  <p:clrMapOvr>
    <a:masterClrMapping/>
  </p:clrMapOvr>
  <p:transition advClick="0" advTm="1000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000108"/>
          </a:xfrm>
        </p:spPr>
        <p:txBody>
          <a:bodyPr/>
          <a:lstStyle/>
          <a:p>
            <a:r>
              <a:rPr lang="fr-FR" dirty="0" smtClean="0"/>
              <a:t>Outils : </a:t>
            </a:r>
            <a:r>
              <a:rPr lang="fr-FR" dirty="0" err="1" smtClean="0"/>
              <a:t>CheckStyle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1023910" y="1214422"/>
            <a:ext cx="7430239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>
                <a:solidFill>
                  <a:srgbClr val="0099FF"/>
                </a:solidFill>
              </a:rPr>
              <a:t>Périmètre : </a:t>
            </a:r>
            <a:r>
              <a:rPr lang="fr-FR" sz="1600" dirty="0" smtClean="0"/>
              <a:t>Vérification de code  JAVA</a:t>
            </a:r>
          </a:p>
          <a:p>
            <a:pPr lvl="0"/>
            <a:endParaRPr lang="fr-FR" sz="1600" dirty="0" smtClean="0"/>
          </a:p>
          <a:p>
            <a:r>
              <a:rPr lang="fr-FR" sz="1600" dirty="0" smtClean="0">
                <a:solidFill>
                  <a:srgbClr val="0099FF"/>
                </a:solidFill>
              </a:rPr>
              <a:t>Avantage : </a:t>
            </a:r>
          </a:p>
          <a:p>
            <a:pPr lvl="0">
              <a:buClr>
                <a:srgbClr val="0066FF"/>
              </a:buClr>
              <a:buFont typeface="Wingdings" pitchFamily="2" charset="2"/>
              <a:buChar char="ü"/>
            </a:pPr>
            <a:r>
              <a:rPr lang="fr-FR" sz="1600" dirty="0" smtClean="0"/>
              <a:t>Spectre de règle relativement large</a:t>
            </a:r>
          </a:p>
          <a:p>
            <a:pPr lvl="1">
              <a:buClr>
                <a:srgbClr val="0066FF"/>
              </a:buClr>
              <a:buFont typeface="Wingdings" pitchFamily="2" charset="2"/>
              <a:buChar char="§"/>
            </a:pPr>
            <a:r>
              <a:rPr lang="fr-FR" sz="1600" dirty="0" smtClean="0"/>
              <a:t> Mise en forme</a:t>
            </a:r>
          </a:p>
          <a:p>
            <a:pPr lvl="1">
              <a:buClr>
                <a:srgbClr val="0066FF"/>
              </a:buClr>
              <a:buFont typeface="Wingdings" pitchFamily="2" charset="2"/>
              <a:buChar char="§"/>
            </a:pPr>
            <a:r>
              <a:rPr lang="fr-FR" sz="1600" dirty="0" smtClean="0"/>
              <a:t> Nommage</a:t>
            </a:r>
          </a:p>
          <a:p>
            <a:pPr lvl="1">
              <a:buClr>
                <a:srgbClr val="0066FF"/>
              </a:buClr>
              <a:buFont typeface="Wingdings" pitchFamily="2" charset="2"/>
              <a:buChar char="§"/>
            </a:pPr>
            <a:r>
              <a:rPr lang="fr-FR" sz="1600" dirty="0" smtClean="0"/>
              <a:t> Documentation</a:t>
            </a:r>
          </a:p>
          <a:p>
            <a:pPr lvl="1">
              <a:buClr>
                <a:srgbClr val="0066FF"/>
              </a:buClr>
              <a:buFont typeface="Wingdings" pitchFamily="2" charset="2"/>
              <a:buChar char="§"/>
            </a:pPr>
            <a:r>
              <a:rPr lang="fr-FR" sz="1600" dirty="0" smtClean="0"/>
              <a:t>Programmation </a:t>
            </a:r>
          </a:p>
          <a:p>
            <a:pPr lvl="0">
              <a:buClr>
                <a:srgbClr val="0066FF"/>
              </a:buClr>
              <a:buFont typeface="Wingdings" pitchFamily="2" charset="2"/>
              <a:buChar char="ü"/>
            </a:pPr>
            <a:r>
              <a:rPr lang="fr-FR" sz="1600" dirty="0" smtClean="0"/>
              <a:t>Connu et reconnu</a:t>
            </a:r>
          </a:p>
          <a:p>
            <a:pPr lvl="1">
              <a:buClr>
                <a:srgbClr val="0066FF"/>
              </a:buClr>
              <a:buFont typeface="Wingdings" pitchFamily="2" charset="2"/>
              <a:buChar char="ü"/>
            </a:pPr>
            <a:r>
              <a:rPr lang="fr-FR" sz="1600" dirty="0" smtClean="0"/>
              <a:t> Outil très largement employé au-delà du monde de l’Open Source</a:t>
            </a:r>
          </a:p>
          <a:p>
            <a:pPr lvl="0">
              <a:buClr>
                <a:srgbClr val="0066FF"/>
              </a:buClr>
              <a:buFont typeface="Wingdings" pitchFamily="2" charset="2"/>
              <a:buChar char="ü"/>
            </a:pPr>
            <a:r>
              <a:rPr lang="fr-FR" sz="1600" dirty="0" smtClean="0"/>
              <a:t>Communauté très réactive</a:t>
            </a:r>
          </a:p>
          <a:p>
            <a:pPr lvl="0">
              <a:buClr>
                <a:srgbClr val="0066FF"/>
              </a:buClr>
              <a:buFont typeface="Wingdings" pitchFamily="2" charset="2"/>
              <a:buChar char="ü"/>
            </a:pPr>
            <a:r>
              <a:rPr lang="fr-FR" sz="1600" dirty="0" smtClean="0"/>
              <a:t>Plugin Eclipse très avancé et réactif</a:t>
            </a:r>
          </a:p>
          <a:p>
            <a:pPr lvl="0">
              <a:buClr>
                <a:srgbClr val="0066FF"/>
              </a:buClr>
              <a:buFont typeface="Wingdings" pitchFamily="2" charset="2"/>
              <a:buChar char="ü"/>
            </a:pPr>
            <a:r>
              <a:rPr lang="fr-FR" sz="1600" dirty="0" smtClean="0"/>
              <a:t>Nombreuses extensions et personnalisations possibles</a:t>
            </a:r>
          </a:p>
          <a:p>
            <a:pPr>
              <a:buClr>
                <a:srgbClr val="0066FF"/>
              </a:buClr>
            </a:pPr>
            <a:endParaRPr lang="fr-FR" sz="1600" dirty="0" smtClean="0"/>
          </a:p>
          <a:p>
            <a:pPr>
              <a:buClr>
                <a:srgbClr val="0066FF"/>
              </a:buClr>
            </a:pPr>
            <a:endParaRPr lang="fr-FR" sz="1600" dirty="0" smtClean="0"/>
          </a:p>
          <a:p>
            <a:r>
              <a:rPr lang="fr-FR" sz="1600" dirty="0" smtClean="0">
                <a:solidFill>
                  <a:srgbClr val="0099FF"/>
                </a:solidFill>
              </a:rPr>
              <a:t>Inconvénients : </a:t>
            </a:r>
          </a:p>
          <a:p>
            <a:pPr lvl="0">
              <a:buClr>
                <a:srgbClr val="0066FF"/>
              </a:buClr>
              <a:buFont typeface="Wingdings" pitchFamily="2" charset="2"/>
              <a:buChar char="§"/>
            </a:pPr>
            <a:r>
              <a:rPr lang="fr-FR" sz="1600" dirty="0" smtClean="0"/>
              <a:t>Création de nouvelles règles requiert un développement Java</a:t>
            </a:r>
          </a:p>
          <a:p>
            <a:pPr lvl="0">
              <a:buClr>
                <a:srgbClr val="0066FF"/>
              </a:buClr>
              <a:buFont typeface="Wingdings" pitchFamily="2" charset="2"/>
              <a:buChar char="§"/>
            </a:pPr>
            <a:r>
              <a:rPr lang="fr-FR" sz="1600" dirty="0" smtClean="0"/>
              <a:t>Règles plus génériques que PMD</a:t>
            </a:r>
          </a:p>
          <a:p>
            <a:pPr lvl="0"/>
            <a:endParaRPr lang="fr-FR" sz="1600" dirty="0" smtClean="0"/>
          </a:p>
          <a:p>
            <a:endParaRPr lang="fr-FR" sz="1600" dirty="0"/>
          </a:p>
        </p:txBody>
      </p:sp>
      <p:sp>
        <p:nvSpPr>
          <p:cNvPr id="15" name="Chevron 14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6" name="Rectangle 15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17" name="Chevron 16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8" name="Rectangle 17"/>
          <p:cNvSpPr/>
          <p:nvPr/>
        </p:nvSpPr>
        <p:spPr>
          <a:xfrm>
            <a:off x="9607504" y="2734498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Planification du projet</a:t>
            </a:r>
          </a:p>
        </p:txBody>
      </p:sp>
      <p:sp>
        <p:nvSpPr>
          <p:cNvPr id="19" name="Chevron 18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0" name="Chevron 19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1" name="Rectangle 20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22" name="Rectangle 21"/>
          <p:cNvSpPr/>
          <p:nvPr/>
        </p:nvSpPr>
        <p:spPr>
          <a:xfrm>
            <a:off x="9605567" y="2244371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Contexte du projet</a:t>
            </a:r>
            <a:endParaRPr lang="fr-FR" dirty="0"/>
          </a:p>
        </p:txBody>
      </p:sp>
      <p:sp>
        <p:nvSpPr>
          <p:cNvPr id="23" name="Chevron 22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Rectangle 23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25" name="Chevron 24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6" name="Rectangle 25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3" name="Groupe 26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28" name="Chevron 27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utillage : Qualité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167977"/>
              </p:ext>
            </p:extLst>
          </p:nvPr>
        </p:nvGraphicFramePr>
        <p:xfrm>
          <a:off x="238092" y="947852"/>
          <a:ext cx="9286940" cy="5496789"/>
        </p:xfrm>
        <a:graphic>
          <a:graphicData uri="http://schemas.openxmlformats.org/drawingml/2006/table">
            <a:tbl>
              <a:tblPr/>
              <a:tblGrid>
                <a:gridCol w="943746"/>
                <a:gridCol w="842204"/>
                <a:gridCol w="101542"/>
                <a:gridCol w="907907"/>
                <a:gridCol w="846583"/>
                <a:gridCol w="1016220"/>
                <a:gridCol w="1016220"/>
                <a:gridCol w="1016220"/>
                <a:gridCol w="1016220"/>
                <a:gridCol w="790039"/>
                <a:gridCol w="790039"/>
              </a:tblGrid>
              <a:tr h="41455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fr-FR" sz="1050" dirty="0">
                        <a:latin typeface="Calibri"/>
                      </a:endParaRPr>
                    </a:p>
                  </a:txBody>
                  <a:tcPr marL="66610" marR="66610" marT="33305" marB="33305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Outil</a:t>
                      </a:r>
                      <a:endParaRPr lang="fr-FR" sz="12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Maturité</a:t>
                      </a:r>
                      <a:endParaRPr lang="fr-FR" sz="12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6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Popularité</a:t>
                      </a:r>
                      <a:endParaRPr lang="fr-FR" sz="12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Activité</a:t>
                      </a:r>
                      <a:endParaRPr lang="fr-FR" sz="12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Réactivité</a:t>
                      </a:r>
                      <a:endParaRPr lang="fr-FR" sz="12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Config.</a:t>
                      </a:r>
                      <a:endParaRPr lang="fr-FR" sz="12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Extension</a:t>
                      </a:r>
                      <a:endParaRPr lang="fr-FR" sz="12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Couplage</a:t>
                      </a:r>
                      <a:endParaRPr lang="fr-FR" sz="12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Licence</a:t>
                      </a:r>
                      <a:endParaRPr lang="fr-FR" sz="12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455830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 smtClean="0">
                          <a:latin typeface="Calibri"/>
                          <a:ea typeface="Times New Roman"/>
                          <a:cs typeface="Times New Roman"/>
                        </a:rPr>
                        <a:t>Vérification</a:t>
                      </a:r>
                      <a:r>
                        <a:rPr lang="fr-FR" sz="1400" b="1" baseline="0" dirty="0" smtClean="0"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fr-FR" sz="1400" b="1" dirty="0" smtClean="0">
                          <a:latin typeface="Calibri"/>
                          <a:ea typeface="Times New Roman"/>
                          <a:cs typeface="Times New Roman"/>
                        </a:rPr>
                        <a:t>Règles</a:t>
                      </a:r>
                      <a:r>
                        <a:rPr lang="fr-FR" sz="1400" dirty="0" smtClean="0"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 vert="vert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err="1">
                          <a:latin typeface="Calibri"/>
                          <a:ea typeface="Times New Roman"/>
                          <a:cs typeface="Times New Roman"/>
                        </a:rPr>
                        <a:t>Checkstyle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05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GPL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  <a:tr h="32228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PMD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05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BSD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9963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err="1">
                          <a:latin typeface="Calibri"/>
                          <a:ea typeface="Times New Roman"/>
                          <a:cs typeface="Times New Roman"/>
                        </a:rPr>
                        <a:t>Macker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05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--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.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GPL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</a:tr>
              <a:tr h="200878">
                <a:tc gridSpan="1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fr-FR" sz="1600" dirty="0">
                        <a:latin typeface="Calibri"/>
                      </a:endParaRPr>
                    </a:p>
                  </a:txBody>
                  <a:tcPr marL="66610" marR="66610" marT="33305" marB="33305" vert="vert27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55830"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>
                          <a:latin typeface="Calibri"/>
                          <a:ea typeface="Times New Roman"/>
                          <a:cs typeface="Times New Roman"/>
                        </a:rPr>
                        <a:t>Métriques </a:t>
                      </a:r>
                      <a:r>
                        <a:rPr lang="fr-FR" sz="1400" b="1" dirty="0" smtClean="0">
                          <a:latin typeface="Calibri"/>
                          <a:ea typeface="Times New Roman"/>
                          <a:cs typeface="Times New Roman"/>
                        </a:rPr>
                        <a:t> Statiques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 vert="vert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D8E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err="1">
                          <a:latin typeface="Calibri"/>
                          <a:ea typeface="Times New Roman"/>
                          <a:cs typeface="Times New Roman"/>
                        </a:rPr>
                        <a:t>Metrics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.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.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--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CPL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  <a:tr h="45583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err="1">
                          <a:latin typeface="Calibri"/>
                          <a:ea typeface="Times New Roman"/>
                          <a:cs typeface="Times New Roman"/>
                        </a:rPr>
                        <a:t>JavaNCSS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.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fr-FR" sz="1400">
                        <a:latin typeface="Calibri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GPL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32228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CKJM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BSD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  <a:tr h="45583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err="1">
                          <a:latin typeface="Calibri"/>
                          <a:ea typeface="Times New Roman"/>
                          <a:cs typeface="Times New Roman"/>
                        </a:rPr>
                        <a:t>JDepend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.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fr-FR" sz="1400">
                        <a:latin typeface="Calibri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BSD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</a:tr>
              <a:tr h="200878">
                <a:tc gridSpan="1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fr-FR" sz="1600" dirty="0">
                        <a:latin typeface="Calibri"/>
                      </a:endParaRPr>
                    </a:p>
                  </a:txBody>
                  <a:tcPr marL="66610" marR="66610" marT="33305" marB="33305" vert="vert27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22287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>
                          <a:latin typeface="Calibri"/>
                          <a:ea typeface="Times New Roman"/>
                          <a:cs typeface="Times New Roman"/>
                        </a:rPr>
                        <a:t>Métriques </a:t>
                      </a:r>
                      <a:r>
                        <a:rPr lang="fr-FR" sz="1400" b="1" dirty="0" smtClean="0">
                          <a:latin typeface="Calibri"/>
                          <a:ea typeface="Times New Roman"/>
                          <a:cs typeface="Times New Roman"/>
                        </a:rPr>
                        <a:t>De Test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 vert="vert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ED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err="1">
                          <a:latin typeface="Calibri"/>
                          <a:ea typeface="Times New Roman"/>
                          <a:cs typeface="Times New Roman"/>
                        </a:rPr>
                        <a:t>JUnit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CPL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521509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err="1">
                          <a:latin typeface="Calibri"/>
                          <a:ea typeface="Times New Roman"/>
                          <a:cs typeface="Times New Roman"/>
                        </a:rPr>
                        <a:t>Cobertura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fr-FR" sz="1400" dirty="0">
                        <a:latin typeface="Calibri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GPL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200878">
                <a:tc gridSpan="1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fr-FR" sz="1600" dirty="0">
                        <a:latin typeface="Calibri"/>
                      </a:endParaRPr>
                    </a:p>
                  </a:txBody>
                  <a:tcPr marL="66610" marR="66610" marT="33305" marB="33305" vert="vert27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22287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i="1" dirty="0" smtClean="0">
                          <a:latin typeface="Calibri"/>
                          <a:ea typeface="Times New Roman"/>
                          <a:cs typeface="Times New Roman"/>
                        </a:rPr>
                        <a:t>Détection de Patterns</a:t>
                      </a:r>
                      <a:r>
                        <a:rPr lang="fr-FR" sz="1200" i="1" dirty="0" smtClean="0"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endParaRPr lang="fr-FR" sz="1050" i="1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 vert="vert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Calibri"/>
                          <a:ea typeface="Times New Roman"/>
                          <a:cs typeface="Times New Roman"/>
                        </a:rPr>
                        <a:t>CPD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~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BSD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  <a:tr h="32228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err="1" smtClean="0">
                          <a:latin typeface="Calibri"/>
                          <a:ea typeface="Times New Roman"/>
                          <a:cs typeface="Times New Roman"/>
                        </a:rPr>
                        <a:t>Clirr</a:t>
                      </a:r>
                      <a:endParaRPr lang="fr-FR" sz="11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--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.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fr-FR" sz="1400" dirty="0">
                        <a:latin typeface="Calibri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Calibri"/>
                          <a:ea typeface="Times New Roman"/>
                          <a:cs typeface="Times New Roman"/>
                        </a:rPr>
                        <a:t>+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b="1" dirty="0">
                          <a:solidFill>
                            <a:srgbClr val="3D8DA8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GPL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66610" marR="66610" marT="33305" marB="33305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648866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Source : </a:t>
            </a:r>
            <a:r>
              <a:rPr lang="fr-FR" dirty="0" err="1" smtClean="0"/>
              <a:t>Qualixo</a:t>
            </a:r>
            <a:r>
              <a:rPr lang="fr-FR" dirty="0" smtClean="0"/>
              <a:t> 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14422"/>
            <a:ext cx="9906000" cy="1188000"/>
          </a:xfrm>
        </p:spPr>
        <p:txBody>
          <a:bodyPr/>
          <a:lstStyle/>
          <a:p>
            <a:r>
              <a:rPr lang="fr-FR" sz="4400" smtClean="0"/>
              <a:t>Documentation Technique</a:t>
            </a:r>
            <a:endParaRPr lang="fr-FR" sz="4400" dirty="0"/>
          </a:p>
        </p:txBody>
      </p:sp>
      <p:sp>
        <p:nvSpPr>
          <p:cNvPr id="20" name="Chevron 19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9" name="Chevron 28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1" name="Chevron 30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Chevron 31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Rectangle 32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5" name="Chevron 3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809728" y="5143512"/>
            <a:ext cx="12538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3399FF"/>
              </a:buClr>
              <a:buSzPct val="150000"/>
              <a:buFont typeface="Wingdings" pitchFamily="2" charset="2"/>
              <a:buChar char="§"/>
            </a:pPr>
            <a:r>
              <a:rPr lang="fr-FR" dirty="0" smtClean="0"/>
              <a:t>Outillage</a:t>
            </a:r>
            <a:endParaRPr lang="fr-FR" dirty="0"/>
          </a:p>
        </p:txBody>
      </p:sp>
      <p:sp>
        <p:nvSpPr>
          <p:cNvPr id="38" name="Rectangle 37"/>
          <p:cNvSpPr/>
          <p:nvPr/>
        </p:nvSpPr>
        <p:spPr>
          <a:xfrm>
            <a:off x="6167446" y="5059932"/>
            <a:ext cx="8947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3399FF"/>
              </a:buClr>
              <a:buSzPct val="150000"/>
              <a:buFont typeface="Wingdings" pitchFamily="2" charset="2"/>
              <a:buChar char="§"/>
            </a:pPr>
            <a:r>
              <a:rPr lang="fr-FR" dirty="0" err="1" smtClean="0"/>
              <a:t>DocT</a:t>
            </a:r>
            <a:endParaRPr lang="fr-FR" dirty="0" smtClean="0"/>
          </a:p>
        </p:txBody>
      </p:sp>
      <p:pic>
        <p:nvPicPr>
          <p:cNvPr id="39" name="Picture 4" descr="http://c.dryicons.com/images/icon_sets/architecture_blueprint_icons_set/png/512x512/tool_box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95414" y="3071810"/>
            <a:ext cx="1857387" cy="1857388"/>
          </a:xfrm>
          <a:prstGeom prst="rect">
            <a:avLst/>
          </a:prstGeom>
          <a:noFill/>
        </p:spPr>
      </p:pic>
      <p:pic>
        <p:nvPicPr>
          <p:cNvPr id="17410" name="Picture 2" descr="http://www.axess-technology.net/tl_files/societe/images/documentation-technique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81628" y="3488296"/>
            <a:ext cx="2381251" cy="1388220"/>
          </a:xfrm>
          <a:prstGeom prst="rect">
            <a:avLst/>
          </a:prstGeom>
          <a:noFill/>
        </p:spPr>
      </p:pic>
      <p:sp>
        <p:nvSpPr>
          <p:cNvPr id="40" name="Chevron 39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2" name="Rectangle 41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4" name="Groupe 43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5" name="Chevron 44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6" name="Rectangle 45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oct</a:t>
            </a:r>
            <a:r>
              <a:rPr lang="fr-FR" dirty="0" smtClean="0"/>
              <a:t> : Orchestre</a:t>
            </a:r>
            <a:endParaRPr lang="fr-FR" dirty="0"/>
          </a:p>
        </p:txBody>
      </p:sp>
      <p:graphicFrame>
        <p:nvGraphicFramePr>
          <p:cNvPr id="3" name="Diagramme 2"/>
          <p:cNvGraphicFramePr/>
          <p:nvPr/>
        </p:nvGraphicFramePr>
        <p:xfrm>
          <a:off x="309530" y="1214422"/>
          <a:ext cx="9072626" cy="5214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Chevron 19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9" name="Chevron 28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1" name="Chevron 30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Chevron 31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Rectangle 32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5" name="Chevron 3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7" name="Chevron 36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9" name="Rectangle 38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1" name="Groupe 40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2" name="Chevron 41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rchitecture physique </a:t>
            </a:r>
            <a:r>
              <a:rPr lang="fr-FR" dirty="0" err="1" smtClean="0"/>
              <a:t>DocT</a:t>
            </a:r>
            <a:endParaRPr lang="fr-FR" dirty="0"/>
          </a:p>
        </p:txBody>
      </p:sp>
      <p:pic>
        <p:nvPicPr>
          <p:cNvPr id="4" name="Image 3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66852" y="1857364"/>
            <a:ext cx="6072230" cy="321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Chevron 20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Rectangle 23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30" name="Chevron 29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1" name="Rectangle 30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2" name="Chevron 31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Chevron 32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4" name="Rectangle 33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6" name="Chevron 35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7" name="Rectangle 36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8" name="Chevron 37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0" name="Rectangle 39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2" name="Groupe 41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3" name="Chevron 42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4" name="Rectangle 43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rchitecture physique </a:t>
            </a:r>
            <a:r>
              <a:rPr lang="fr-FR" dirty="0" err="1" smtClean="0"/>
              <a:t>DocT</a:t>
            </a:r>
            <a:endParaRPr lang="fr-FR" dirty="0"/>
          </a:p>
        </p:txBody>
      </p:sp>
      <p:pic>
        <p:nvPicPr>
          <p:cNvPr id="3" name="Image 2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9662" y="928670"/>
            <a:ext cx="7072362" cy="5432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Chevron 19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9" name="Chevron 28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1" name="Chevron 30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Chevron 31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Rectangle 32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5" name="Chevron 3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7" name="Chevron 36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9" name="Rectangle 38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1" name="Groupe 40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2" name="Chevron 41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</a:t>
            </a:r>
            <a:r>
              <a:rPr lang="fr-FR" dirty="0" smtClean="0"/>
              <a:t>modèle 4 </a:t>
            </a:r>
            <a:r>
              <a:rPr lang="fr-FR" dirty="0" smtClean="0"/>
              <a:t>vue + 1  </a:t>
            </a:r>
            <a:endParaRPr lang="fr-FR" dirty="0"/>
          </a:p>
        </p:txBody>
      </p:sp>
      <p:pic>
        <p:nvPicPr>
          <p:cNvPr id="3" name="Image 2" descr="D:\Documents\Dropbox\Sharing - MLAH JBEN BZIN\PFE\Optimisation Orchestre\Km\Chapitre\KM\Figures\4plus 1 vue.png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09662" y="1428736"/>
            <a:ext cx="6637509" cy="3900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Chevron 19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9" name="Chevron 28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1" name="Chevron 30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Chevron 31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Rectangle 32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5" name="Chevron 3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7" name="Chevron 36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9" name="Rectangle 38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1" name="Groupe 40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2" name="Chevron 41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oct</a:t>
            </a:r>
            <a:r>
              <a:rPr lang="fr-FR" dirty="0" smtClean="0"/>
              <a:t>   Exemple 1 :  Notification</a:t>
            </a:r>
            <a:endParaRPr lang="fr-FR" dirty="0"/>
          </a:p>
        </p:txBody>
      </p:sp>
      <p:pic>
        <p:nvPicPr>
          <p:cNvPr id="3" name="Image 2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38224" y="2000240"/>
            <a:ext cx="7643866" cy="435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Chevron 19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9" name="Chevron 28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1" name="Chevron 30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Chevron 31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Rectangle 32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5" name="Chevron 3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37" name="Chevron 36"/>
          <p:cNvSpPr/>
          <p:nvPr/>
        </p:nvSpPr>
        <p:spPr>
          <a:xfrm rot="10800000">
            <a:off x="9540512" y="44291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9" name="Rectangle 38"/>
          <p:cNvSpPr/>
          <p:nvPr/>
        </p:nvSpPr>
        <p:spPr>
          <a:xfrm>
            <a:off x="9600200" y="4458947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41" name="Groupe 40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42" name="Chevron 41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43" name="Rectangle 42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oct</a:t>
            </a:r>
            <a:r>
              <a:rPr lang="fr-FR" dirty="0" smtClean="0"/>
              <a:t>   Exemple 2 :  IHM ( </a:t>
            </a:r>
            <a:r>
              <a:rPr lang="fr-FR" dirty="0" err="1" smtClean="0"/>
              <a:t>Struts</a:t>
            </a:r>
            <a:r>
              <a:rPr lang="fr-FR" dirty="0" smtClean="0"/>
              <a:t>)</a:t>
            </a:r>
            <a:endParaRPr lang="fr-FR" dirty="0"/>
          </a:p>
        </p:txBody>
      </p:sp>
      <p:pic>
        <p:nvPicPr>
          <p:cNvPr id="4" name="Image 3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3910" y="1214422"/>
            <a:ext cx="7595268" cy="4982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Chevron 20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2" name="Chevron 21"/>
          <p:cNvSpPr/>
          <p:nvPr/>
        </p:nvSpPr>
        <p:spPr>
          <a:xfrm rot="10800000">
            <a:off x="9540512" y="443854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Rectangle 23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8" name="Rectangle 27"/>
          <p:cNvSpPr/>
          <p:nvPr/>
        </p:nvSpPr>
        <p:spPr>
          <a:xfrm>
            <a:off x="9600200" y="4467592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0" name="Chevron 29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1" name="Rectangle 30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2" name="Chevron 31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Chevron 32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4" name="Rectangle 33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6" name="Chevron 35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7" name="Rectangle 36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grpSp>
        <p:nvGrpSpPr>
          <p:cNvPr id="19" name="Groupe 18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20" name="Chevron 19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23" name="Rectangle 22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utillage </a:t>
            </a:r>
            <a:r>
              <a:rPr lang="fr-FR" dirty="0" err="1" smtClean="0"/>
              <a:t>DocT</a:t>
            </a:r>
            <a:endParaRPr lang="fr-FR" dirty="0"/>
          </a:p>
        </p:txBody>
      </p:sp>
      <p:pic>
        <p:nvPicPr>
          <p:cNvPr id="12290" name="Picture 2" descr="http://www.axopen.com/ressources/offres/offre-ged-ecm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3910" y="1500174"/>
            <a:ext cx="6972300" cy="4105275"/>
          </a:xfrm>
          <a:prstGeom prst="rect">
            <a:avLst/>
          </a:prstGeom>
          <a:noFill/>
        </p:spPr>
      </p:pic>
      <p:sp>
        <p:nvSpPr>
          <p:cNvPr id="4" name="Chevron 3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7" name="Rectangle 6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13" name="Chevron 12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4" name="Rectangle 13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15" name="Chevron 14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6" name="Chevron 15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7" name="Rectangle 16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18" name="Rectangle 17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19" name="Chevron 18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0" name="Rectangle 19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21" name="Chevron 20"/>
          <p:cNvSpPr/>
          <p:nvPr/>
        </p:nvSpPr>
        <p:spPr>
          <a:xfrm rot="10800000">
            <a:off x="9540512" y="443854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2" name="Rectangle 21"/>
          <p:cNvSpPr/>
          <p:nvPr/>
        </p:nvSpPr>
        <p:spPr>
          <a:xfrm>
            <a:off x="9600200" y="4467592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grpSp>
        <p:nvGrpSpPr>
          <p:cNvPr id="23" name="Groupe 22"/>
          <p:cNvGrpSpPr/>
          <p:nvPr/>
        </p:nvGrpSpPr>
        <p:grpSpPr>
          <a:xfrm>
            <a:off x="7957968" y="3711363"/>
            <a:ext cx="2495758" cy="646331"/>
            <a:chOff x="9529604" y="3711363"/>
            <a:chExt cx="2495758" cy="646331"/>
          </a:xfrm>
        </p:grpSpPr>
        <p:sp>
          <p:nvSpPr>
            <p:cNvPr id="24" name="Chevron 23"/>
            <p:cNvSpPr/>
            <p:nvPr/>
          </p:nvSpPr>
          <p:spPr>
            <a:xfrm rot="10800000">
              <a:off x="9529604" y="3712762"/>
              <a:ext cx="2495758" cy="644931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25" name="Rectangle 24"/>
            <p:cNvSpPr/>
            <p:nvPr/>
          </p:nvSpPr>
          <p:spPr>
            <a:xfrm>
              <a:off x="9906000" y="3711363"/>
              <a:ext cx="210602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Mise en œuvre</a:t>
              </a:r>
            </a:p>
            <a:p>
              <a:r>
                <a:rPr lang="fr-FR" dirty="0" smtClean="0"/>
                <a:t> de la solution 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563810" y="3857628"/>
              <a:ext cx="3898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6-</a:t>
              </a:r>
              <a:endParaRPr lang="fr-FR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hevron 31"/>
          <p:cNvSpPr/>
          <p:nvPr/>
        </p:nvSpPr>
        <p:spPr>
          <a:xfrm rot="10800000">
            <a:off x="9529604" y="3712765"/>
            <a:ext cx="363876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’organisme d’accueil</a:t>
            </a:r>
            <a:endParaRPr lang="fr-FR" dirty="0"/>
          </a:p>
        </p:txBody>
      </p:sp>
      <p:sp>
        <p:nvSpPr>
          <p:cNvPr id="17" name="TextBox 17"/>
          <p:cNvSpPr txBox="1"/>
          <p:nvPr/>
        </p:nvSpPr>
        <p:spPr>
          <a:xfrm rot="2629758">
            <a:off x="3015041" y="3810834"/>
            <a:ext cx="25955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Consulting</a:t>
            </a:r>
            <a:endParaRPr lang="en-US" sz="3600" b="1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22"/>
          <p:cNvSpPr txBox="1"/>
          <p:nvPr/>
        </p:nvSpPr>
        <p:spPr>
          <a:xfrm rot="2629758">
            <a:off x="3915419" y="3037285"/>
            <a:ext cx="28520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Local </a:t>
            </a:r>
            <a:r>
              <a:rPr lang="en-US" sz="3600" b="1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Pro S.</a:t>
            </a:r>
            <a:endParaRPr lang="en-US" sz="3600" b="1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23"/>
          <p:cNvSpPr txBox="1"/>
          <p:nvPr/>
        </p:nvSpPr>
        <p:spPr>
          <a:xfrm rot="2629758">
            <a:off x="3540647" y="3493140"/>
            <a:ext cx="33051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Technology S.</a:t>
            </a:r>
            <a:endParaRPr lang="en-US" sz="3600" b="1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34"/>
          <p:cNvSpPr txBox="1"/>
          <p:nvPr/>
        </p:nvSpPr>
        <p:spPr>
          <a:xfrm rot="2629758">
            <a:off x="4000511" y="3988266"/>
            <a:ext cx="21852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ourcing</a:t>
            </a:r>
            <a:endParaRPr lang="en-US" sz="3600" b="1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35"/>
          <p:cNvSpPr txBox="1"/>
          <p:nvPr/>
        </p:nvSpPr>
        <p:spPr>
          <a:xfrm rot="2629758">
            <a:off x="3600162" y="2994805"/>
            <a:ext cx="979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Out</a:t>
            </a:r>
            <a:endParaRPr lang="en-US" sz="3600" b="1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2" name="Group 37"/>
          <p:cNvGrpSpPr/>
          <p:nvPr/>
        </p:nvGrpSpPr>
        <p:grpSpPr>
          <a:xfrm>
            <a:off x="0" y="1916832"/>
            <a:ext cx="7369775" cy="3744686"/>
            <a:chOff x="-1799771" y="2148114"/>
            <a:chExt cx="7622374" cy="3744686"/>
          </a:xfrm>
        </p:grpSpPr>
        <p:sp>
          <p:nvSpPr>
            <p:cNvPr id="23" name="TextBox 27"/>
            <p:cNvSpPr txBox="1"/>
            <p:nvPr/>
          </p:nvSpPr>
          <p:spPr>
            <a:xfrm>
              <a:off x="1151838" y="2811556"/>
              <a:ext cx="4670765" cy="840230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pPr marL="714375" indent="-714375"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400" b="1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        </a:t>
              </a:r>
              <a:r>
                <a:rPr lang="en-US" sz="5400" b="1" dirty="0" err="1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Capgemini</a:t>
              </a:r>
              <a:r>
                <a:rPr lang="en-US" sz="5400" b="1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 </a:t>
              </a:r>
              <a:endParaRPr lang="en-US" sz="5400" b="1" dirty="0">
                <a:solidFill>
                  <a:schemeClr val="tx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-1799771" y="2148114"/>
              <a:ext cx="4876800" cy="37446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5"/>
            <p:cNvSpPr/>
            <p:nvPr/>
          </p:nvSpPr>
          <p:spPr>
            <a:xfrm>
              <a:off x="441988" y="2225270"/>
              <a:ext cx="1838340" cy="183834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endParaRPr>
            </a:p>
          </p:txBody>
        </p:sp>
      </p:grpSp>
      <p:pic>
        <p:nvPicPr>
          <p:cNvPr id="31" name="Picture 10" descr="http://www.antoinemillien.com/css/img/bulle/bu_capgemin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8171" y="2044386"/>
            <a:ext cx="2022173" cy="1912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hevron 38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1" name="Chevron 40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3" name="Rectangle 42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44" name="Rectangle 43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47" name="Chevron 46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8" name="Rectangle 47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50" name="Chevron 49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grpSp>
        <p:nvGrpSpPr>
          <p:cNvPr id="30" name="Groupe 29"/>
          <p:cNvGrpSpPr/>
          <p:nvPr/>
        </p:nvGrpSpPr>
        <p:grpSpPr>
          <a:xfrm>
            <a:off x="9534176" y="1714489"/>
            <a:ext cx="2657099" cy="430616"/>
            <a:chOff x="9534176" y="1714489"/>
            <a:chExt cx="2657099" cy="430616"/>
          </a:xfrm>
        </p:grpSpPr>
        <p:sp>
          <p:nvSpPr>
            <p:cNvPr id="49" name="Chevron 48"/>
            <p:cNvSpPr/>
            <p:nvPr/>
          </p:nvSpPr>
          <p:spPr>
            <a:xfrm rot="10800000">
              <a:off x="9534176" y="1714489"/>
              <a:ext cx="2634062" cy="430616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51" name="Rectangle 50"/>
            <p:cNvSpPr/>
            <p:nvPr/>
          </p:nvSpPr>
          <p:spPr>
            <a:xfrm>
              <a:off x="9595628" y="1734367"/>
              <a:ext cx="259564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dirty="0" smtClean="0"/>
                <a:t>2-L’organisme d’accueil</a:t>
              </a:r>
            </a:p>
          </p:txBody>
        </p:sp>
      </p:grpSp>
      <p:sp>
        <p:nvSpPr>
          <p:cNvPr id="52" name="Rectangle 51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53" name="Chevron 52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54" name="Rectangle 53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</p:spTree>
    <p:extLst>
      <p:ext uri="{BB962C8B-B14F-4D97-AF65-F5344CB8AC3E}">
        <p14:creationId xmlns:p14="http://schemas.microsoft.com/office/powerpoint/2010/main" val="1795450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9716E-6 0 L -0.23328 -0.0018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" y="-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8" presetClass="emph" presetSubtype="0" decel="3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2700000">
                                      <p:cBhvr>
                                        <p:cTn id="1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6" presetClass="emph" presetSubtype="0" decel="3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42" presetClass="path" presetSubtype="0" decel="3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1.11111E-6 L -0.30486 0.57153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200" y="286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3" presetClass="entr" presetSubtype="16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800"/>
                            </p:stCondLst>
                            <p:childTnLst>
                              <p:par>
                                <p:cTn id="23" presetID="6" presetClass="emph" presetSubtype="0" decel="6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100" fill="hold"/>
                                        <p:tgtEl>
                                          <p:spTgt spid="1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00"/>
                            </p:stCondLst>
                            <p:childTnLst>
                              <p:par>
                                <p:cTn id="2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6" presetClass="emph" presetSubtype="0" decel="6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100" fill="hold"/>
                                        <p:tgtEl>
                                          <p:spTgt spid="1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100"/>
                            </p:stCondLst>
                            <p:childTnLst>
                              <p:par>
                                <p:cTn id="34" presetID="23" presetClass="entr" presetSubtype="16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400"/>
                            </p:stCondLst>
                            <p:childTnLst>
                              <p:par>
                                <p:cTn id="39" presetID="6" presetClass="emph" presetSubtype="0" decel="6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100" fill="hold"/>
                                        <p:tgtEl>
                                          <p:spTgt spid="21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23" presetClass="entr" presetSubtype="16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800"/>
                            </p:stCondLst>
                            <p:childTnLst>
                              <p:par>
                                <p:cTn id="47" presetID="6" presetClass="emph" presetSubtype="0" decel="6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100" fill="hold"/>
                                        <p:tgtEl>
                                          <p:spTgt spid="20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9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1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6" presetClass="emph" presetSubtype="0" decel="6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55" dur="100" fill="hold"/>
                                        <p:tgtEl>
                                          <p:spTgt spid="1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utoUpdateAnimBg="0"/>
      <p:bldP spid="17" grpId="1" autoUpdateAnimBg="0"/>
      <p:bldP spid="18" grpId="0"/>
      <p:bldP spid="18" grpId="1"/>
      <p:bldP spid="19" grpId="0" autoUpdateAnimBg="0"/>
      <p:bldP spid="19" grpId="1" autoUpdateAnimBg="0"/>
      <p:bldP spid="20" grpId="0" autoUpdateAnimBg="0"/>
      <p:bldP spid="20" grpId="1" autoUpdateAnimBg="0"/>
      <p:bldP spid="21" grpId="0" autoUpdateAnimBg="0"/>
      <p:bldP spid="21" grpId="1" autoUpdateAnimBg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42852"/>
            <a:ext cx="9906000" cy="642918"/>
          </a:xfrm>
        </p:spPr>
        <p:txBody>
          <a:bodyPr tIns="0" bIns="0"/>
          <a:lstStyle/>
          <a:p>
            <a:r>
              <a:rPr lang="fr-FR" dirty="0" smtClean="0"/>
              <a:t>Outillage : GED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/>
        </p:nvGraphicFramePr>
        <p:xfrm>
          <a:off x="452406" y="857232"/>
          <a:ext cx="8929751" cy="5540458"/>
        </p:xfrm>
        <a:graphic>
          <a:graphicData uri="http://schemas.openxmlformats.org/drawingml/2006/table">
            <a:tbl>
              <a:tblPr/>
              <a:tblGrid>
                <a:gridCol w="1240953"/>
                <a:gridCol w="1006383"/>
                <a:gridCol w="1078267"/>
                <a:gridCol w="1078267"/>
                <a:gridCol w="939227"/>
                <a:gridCol w="1340266"/>
                <a:gridCol w="1341211"/>
                <a:gridCol w="905177"/>
              </a:tblGrid>
              <a:tr h="30094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9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1C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 err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lfresco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1C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 err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Contineo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1C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 err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Freedom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1C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 err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Jahia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1C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 err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Knowledge</a:t>
                      </a:r>
                      <a:r>
                        <a:rPr lang="fr-FR" sz="1400" b="1" dirty="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fr-FR" sz="1400" b="1" dirty="0" err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Tree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1C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 err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aarch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1C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 err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uxeo</a:t>
                      </a:r>
                      <a:r>
                        <a:rPr lang="fr-FR" sz="1400" b="1" dirty="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EP</a:t>
                      </a:r>
                      <a:endParaRPr lang="fr-FR" sz="14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B1C9"/>
                    </a:solidFill>
                  </a:tcPr>
                </a:tc>
              </a:tr>
              <a:tr h="27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Diversité des standards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</a:tr>
              <a:tr h="32830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Intégration bureautique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>
                          <a:latin typeface="Verdana"/>
                          <a:ea typeface="Times New Roman"/>
                          <a:cs typeface="Times New Roman"/>
                        </a:rPr>
                        <a:t>(version commerciale)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30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Scanners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>
                          <a:latin typeface="Verdana"/>
                          <a:ea typeface="Times New Roman"/>
                          <a:cs typeface="Times New Roman"/>
                        </a:rPr>
                        <a:t>(version commerciale)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</a:tr>
              <a:tr h="27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Plan et navigation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03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Indexation manuelle/</a:t>
                      </a:r>
                      <a:b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auto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</a:tr>
              <a:tr h="4103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Recherche intégrale/sur métadonnée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03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Import/</a:t>
                      </a:r>
                      <a:b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Export des données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>
                          <a:latin typeface="Verdana"/>
                          <a:ea typeface="Times New Roman"/>
                          <a:cs typeface="Times New Roman"/>
                        </a:rPr>
                        <a:t>via 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>
                          <a:latin typeface="Verdana"/>
                          <a:ea typeface="Times New Roman"/>
                          <a:cs typeface="Times New Roman"/>
                        </a:rPr>
                        <a:t>via 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 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>
                          <a:latin typeface="Verdana"/>
                          <a:ea typeface="Times New Roman"/>
                          <a:cs typeface="Times New Roman"/>
                        </a:rPr>
                        <a:t>(version commerciale)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</a:tr>
              <a:tr h="27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Support LDAP/SSO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Moteur de règles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</a:tr>
              <a:tr h="27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Gestion des versions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03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Configuration de l'interface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>
                          <a:latin typeface="Verdana"/>
                          <a:ea typeface="Times New Roman"/>
                          <a:cs typeface="Times New Roman"/>
                        </a:rPr>
                        <a:t>(via plug-in)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</a:tr>
              <a:tr h="4240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Moteur de </a:t>
                      </a:r>
                      <a:r>
                        <a:rPr lang="fr-FR" sz="1000" b="1" dirty="0" err="1">
                          <a:latin typeface="Calibri"/>
                          <a:ea typeface="Times New Roman"/>
                          <a:cs typeface="Times New Roman"/>
                        </a:rPr>
                        <a:t>workflow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>
                          <a:latin typeface="Verdana"/>
                          <a:ea typeface="Times New Roman"/>
                          <a:cs typeface="Times New Roman"/>
                        </a:rPr>
                        <a:t>(version entreprise)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Archivage légal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</a:tr>
              <a:tr h="32830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Gestion des e-mails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700" b="1">
                          <a:latin typeface="Verdana"/>
                          <a:ea typeface="Times New Roman"/>
                          <a:cs typeface="Times New Roman"/>
                        </a:rPr>
                        <a:t>(version commerciale)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Ø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Times New Roman"/>
                        </a:rPr>
                        <a:t>√√√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7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latin typeface="Calibri"/>
                          <a:ea typeface="Times New Roman"/>
                          <a:cs typeface="Times New Roman"/>
                        </a:rPr>
                        <a:t>Total :</a:t>
                      </a:r>
                      <a:endParaRPr lang="fr-FR" sz="10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Arial"/>
                        </a:rPr>
                        <a:t>39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Arial"/>
                        </a:rPr>
                        <a:t>8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Arial"/>
                        </a:rPr>
                        <a:t>12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Arial"/>
                        </a:rPr>
                        <a:t>17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Arial"/>
                        </a:rPr>
                        <a:t>27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Arial"/>
                        </a:rPr>
                        <a:t>11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>
                          <a:latin typeface="Verdana"/>
                          <a:ea typeface="Times New Roman"/>
                          <a:cs typeface="Arial"/>
                        </a:rPr>
                        <a:t>37</a:t>
                      </a:r>
                      <a:endParaRPr lang="fr-FR" sz="90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>
                      <a:noFill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BF1"/>
                    </a:solidFill>
                  </a:tcPr>
                </a:tc>
              </a:tr>
              <a:tr h="146753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900" b="1" dirty="0">
                          <a:latin typeface="Verdana"/>
                          <a:ea typeface="Times New Roman"/>
                          <a:cs typeface="Times New Roman"/>
                        </a:rPr>
                        <a:t>Légende</a:t>
                      </a:r>
                      <a:r>
                        <a:rPr lang="fr-FR" sz="900" b="1" i="1" dirty="0">
                          <a:latin typeface="Verdana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fr-FR" sz="900" b="1" dirty="0">
                          <a:latin typeface="Verdana"/>
                          <a:ea typeface="Times New Roman"/>
                          <a:cs typeface="Times New Roman"/>
                        </a:rPr>
                        <a:t>: Ø : Inexistant. √: Faible.  √√: Moyen.  √√√: Fort</a:t>
                      </a:r>
                      <a:endParaRPr lang="fr-FR" sz="900" dirty="0">
                        <a:latin typeface="Cambria"/>
                        <a:ea typeface="Times New Roman"/>
                        <a:cs typeface="Times New Roman"/>
                      </a:endParaRPr>
                    </a:p>
                  </a:txBody>
                  <a:tcPr marL="44748" marR="44748" marT="0" marB="0">
                    <a:lnL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0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Rectangle à coins arrondis 3"/>
          <p:cNvSpPr/>
          <p:nvPr/>
        </p:nvSpPr>
        <p:spPr>
          <a:xfrm>
            <a:off x="452406" y="5000636"/>
            <a:ext cx="1285884" cy="357190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à coins arrondis 4"/>
          <p:cNvSpPr/>
          <p:nvPr/>
        </p:nvSpPr>
        <p:spPr>
          <a:xfrm>
            <a:off x="452406" y="5715016"/>
            <a:ext cx="1285884" cy="357190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Rectangle à coins arrondis 5"/>
          <p:cNvSpPr/>
          <p:nvPr/>
        </p:nvSpPr>
        <p:spPr>
          <a:xfrm>
            <a:off x="452406" y="4357694"/>
            <a:ext cx="1285884" cy="285752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0" y="2786058"/>
            <a:ext cx="104537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 smtClean="0">
                <a:solidFill>
                  <a:srgbClr val="3399FF"/>
                </a:solidFill>
                <a:latin typeface="Cooper Black" pitchFamily="18" charset="0"/>
              </a:rPr>
              <a:t>……………………………………………..</a:t>
            </a:r>
            <a:endParaRPr lang="fr-FR" b="1" dirty="0">
              <a:solidFill>
                <a:srgbClr val="3399FF"/>
              </a:solidFill>
              <a:latin typeface="Cooper Black" pitchFamily="18" charset="0"/>
            </a:endParaRPr>
          </a:p>
        </p:txBody>
      </p:sp>
      <p:sp>
        <p:nvSpPr>
          <p:cNvPr id="16" name="Titre 2"/>
          <p:cNvSpPr txBox="1">
            <a:spLocks/>
          </p:cNvSpPr>
          <p:nvPr/>
        </p:nvSpPr>
        <p:spPr bwMode="black">
          <a:xfrm>
            <a:off x="2095480" y="2000240"/>
            <a:ext cx="5715040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4800" dirty="0" smtClean="0">
                <a:latin typeface="+mn-lt"/>
              </a:rPr>
              <a:t>Bilan</a:t>
            </a:r>
            <a:endParaRPr lang="fr-FR" dirty="0"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5"/>
          <p:cNvGrpSpPr>
            <a:grpSpLocks/>
          </p:cNvGrpSpPr>
          <p:nvPr/>
        </p:nvGrpSpPr>
        <p:grpSpPr bwMode="auto">
          <a:xfrm>
            <a:off x="6731006" y="747981"/>
            <a:ext cx="1568451" cy="1914525"/>
            <a:chOff x="-650" y="-465"/>
            <a:chExt cx="988" cy="1206"/>
          </a:xfrm>
        </p:grpSpPr>
        <p:sp>
          <p:nvSpPr>
            <p:cNvPr id="129" name="Freeform 6"/>
            <p:cNvSpPr>
              <a:spLocks/>
            </p:cNvSpPr>
            <p:nvPr/>
          </p:nvSpPr>
          <p:spPr bwMode="auto">
            <a:xfrm>
              <a:off x="-650" y="-355"/>
              <a:ext cx="870" cy="1096"/>
            </a:xfrm>
            <a:custGeom>
              <a:avLst/>
              <a:gdLst/>
              <a:ahLst/>
              <a:cxnLst>
                <a:cxn ang="0">
                  <a:pos x="588" y="288"/>
                </a:cxn>
                <a:cxn ang="0">
                  <a:pos x="0" y="0"/>
                </a:cxn>
                <a:cxn ang="0">
                  <a:pos x="282" y="808"/>
                </a:cxn>
                <a:cxn ang="0">
                  <a:pos x="870" y="1096"/>
                </a:cxn>
                <a:cxn ang="0">
                  <a:pos x="588" y="288"/>
                </a:cxn>
              </a:cxnLst>
              <a:rect l="0" t="0" r="r" b="b"/>
              <a:pathLst>
                <a:path w="870" h="1096">
                  <a:moveTo>
                    <a:pt x="588" y="288"/>
                  </a:moveTo>
                  <a:lnTo>
                    <a:pt x="0" y="0"/>
                  </a:lnTo>
                  <a:lnTo>
                    <a:pt x="282" y="808"/>
                  </a:lnTo>
                  <a:lnTo>
                    <a:pt x="870" y="1096"/>
                  </a:lnTo>
                  <a:lnTo>
                    <a:pt x="588" y="288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30" name="Freeform 7"/>
            <p:cNvSpPr>
              <a:spLocks/>
            </p:cNvSpPr>
            <p:nvPr/>
          </p:nvSpPr>
          <p:spPr bwMode="auto">
            <a:xfrm>
              <a:off x="-62" y="-177"/>
              <a:ext cx="400" cy="918"/>
            </a:xfrm>
            <a:custGeom>
              <a:avLst/>
              <a:gdLst/>
              <a:ahLst/>
              <a:cxnLst>
                <a:cxn ang="0">
                  <a:pos x="0" y="110"/>
                </a:cxn>
                <a:cxn ang="0">
                  <a:pos x="118" y="0"/>
                </a:cxn>
                <a:cxn ang="0">
                  <a:pos x="400" y="808"/>
                </a:cxn>
                <a:cxn ang="0">
                  <a:pos x="282" y="918"/>
                </a:cxn>
                <a:cxn ang="0">
                  <a:pos x="0" y="110"/>
                </a:cxn>
              </a:cxnLst>
              <a:rect l="0" t="0" r="r" b="b"/>
              <a:pathLst>
                <a:path w="400" h="918">
                  <a:moveTo>
                    <a:pt x="0" y="110"/>
                  </a:moveTo>
                  <a:lnTo>
                    <a:pt x="118" y="0"/>
                  </a:lnTo>
                  <a:lnTo>
                    <a:pt x="400" y="808"/>
                  </a:lnTo>
                  <a:lnTo>
                    <a:pt x="282" y="918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rgbClr val="80808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  <p:sp>
          <p:nvSpPr>
            <p:cNvPr id="131" name="Freeform 8"/>
            <p:cNvSpPr>
              <a:spLocks/>
            </p:cNvSpPr>
            <p:nvPr/>
          </p:nvSpPr>
          <p:spPr bwMode="auto">
            <a:xfrm>
              <a:off x="-650" y="-465"/>
              <a:ext cx="706" cy="398"/>
            </a:xfrm>
            <a:custGeom>
              <a:avLst/>
              <a:gdLst/>
              <a:ahLst/>
              <a:cxnLst>
                <a:cxn ang="0">
                  <a:pos x="706" y="288"/>
                </a:cxn>
                <a:cxn ang="0">
                  <a:pos x="118" y="0"/>
                </a:cxn>
                <a:cxn ang="0">
                  <a:pos x="0" y="110"/>
                </a:cxn>
                <a:cxn ang="0">
                  <a:pos x="588" y="398"/>
                </a:cxn>
                <a:cxn ang="0">
                  <a:pos x="706" y="288"/>
                </a:cxn>
              </a:cxnLst>
              <a:rect l="0" t="0" r="r" b="b"/>
              <a:pathLst>
                <a:path w="706" h="398">
                  <a:moveTo>
                    <a:pt x="706" y="288"/>
                  </a:moveTo>
                  <a:lnTo>
                    <a:pt x="118" y="0"/>
                  </a:lnTo>
                  <a:lnTo>
                    <a:pt x="0" y="110"/>
                  </a:lnTo>
                  <a:lnTo>
                    <a:pt x="588" y="398"/>
                  </a:lnTo>
                  <a:lnTo>
                    <a:pt x="706" y="288"/>
                  </a:lnTo>
                  <a:close/>
                </a:path>
              </a:pathLst>
            </a:custGeom>
            <a:solidFill>
              <a:srgbClr val="EAEAE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78" name="Group 9"/>
          <p:cNvGrpSpPr>
            <a:grpSpLocks/>
          </p:cNvGrpSpPr>
          <p:nvPr/>
        </p:nvGrpSpPr>
        <p:grpSpPr bwMode="auto">
          <a:xfrm>
            <a:off x="6523043" y="782906"/>
            <a:ext cx="1143001" cy="2171700"/>
            <a:chOff x="2241" y="1386"/>
            <a:chExt cx="720" cy="1368"/>
          </a:xfrm>
        </p:grpSpPr>
        <p:sp>
          <p:nvSpPr>
            <p:cNvPr id="126" name="Freeform 10"/>
            <p:cNvSpPr>
              <a:spLocks/>
            </p:cNvSpPr>
            <p:nvPr/>
          </p:nvSpPr>
          <p:spPr bwMode="auto">
            <a:xfrm>
              <a:off x="2241" y="1458"/>
              <a:ext cx="576" cy="1296"/>
            </a:xfrm>
            <a:custGeom>
              <a:avLst/>
              <a:gdLst/>
              <a:ahLst/>
              <a:cxnLst>
                <a:cxn ang="0">
                  <a:pos x="576" y="288"/>
                </a:cxn>
                <a:cxn ang="0">
                  <a:pos x="0" y="0"/>
                </a:cxn>
                <a:cxn ang="0">
                  <a:pos x="0" y="1008"/>
                </a:cxn>
                <a:cxn ang="0">
                  <a:pos x="576" y="1296"/>
                </a:cxn>
                <a:cxn ang="0">
                  <a:pos x="576" y="288"/>
                </a:cxn>
              </a:cxnLst>
              <a:rect l="0" t="0" r="r" b="b"/>
              <a:pathLst>
                <a:path w="576" h="1296">
                  <a:moveTo>
                    <a:pt x="576" y="288"/>
                  </a:moveTo>
                  <a:lnTo>
                    <a:pt x="0" y="0"/>
                  </a:lnTo>
                  <a:lnTo>
                    <a:pt x="0" y="1008"/>
                  </a:lnTo>
                  <a:lnTo>
                    <a:pt x="576" y="1296"/>
                  </a:lnTo>
                  <a:lnTo>
                    <a:pt x="576" y="288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27" name="Freeform 11"/>
            <p:cNvSpPr>
              <a:spLocks/>
            </p:cNvSpPr>
            <p:nvPr/>
          </p:nvSpPr>
          <p:spPr bwMode="auto">
            <a:xfrm>
              <a:off x="2817" y="1674"/>
              <a:ext cx="144" cy="1080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44" y="0"/>
                </a:cxn>
                <a:cxn ang="0">
                  <a:pos x="144" y="1008"/>
                </a:cxn>
                <a:cxn ang="0">
                  <a:pos x="0" y="1080"/>
                </a:cxn>
                <a:cxn ang="0">
                  <a:pos x="0" y="72"/>
                </a:cxn>
              </a:cxnLst>
              <a:rect l="0" t="0" r="r" b="b"/>
              <a:pathLst>
                <a:path w="144" h="1080">
                  <a:moveTo>
                    <a:pt x="0" y="72"/>
                  </a:moveTo>
                  <a:lnTo>
                    <a:pt x="144" y="0"/>
                  </a:lnTo>
                  <a:lnTo>
                    <a:pt x="144" y="1008"/>
                  </a:lnTo>
                  <a:lnTo>
                    <a:pt x="0" y="1080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80808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  <p:sp>
          <p:nvSpPr>
            <p:cNvPr id="128" name="Freeform 12"/>
            <p:cNvSpPr>
              <a:spLocks/>
            </p:cNvSpPr>
            <p:nvPr/>
          </p:nvSpPr>
          <p:spPr bwMode="auto">
            <a:xfrm>
              <a:off x="2241" y="1386"/>
              <a:ext cx="720" cy="360"/>
            </a:xfrm>
            <a:custGeom>
              <a:avLst/>
              <a:gdLst/>
              <a:ahLst/>
              <a:cxnLst>
                <a:cxn ang="0">
                  <a:pos x="720" y="288"/>
                </a:cxn>
                <a:cxn ang="0">
                  <a:pos x="144" y="0"/>
                </a:cxn>
                <a:cxn ang="0">
                  <a:pos x="0" y="72"/>
                </a:cxn>
                <a:cxn ang="0">
                  <a:pos x="576" y="360"/>
                </a:cxn>
                <a:cxn ang="0">
                  <a:pos x="720" y="288"/>
                </a:cxn>
              </a:cxnLst>
              <a:rect l="0" t="0" r="r" b="b"/>
              <a:pathLst>
                <a:path w="720" h="360">
                  <a:moveTo>
                    <a:pt x="720" y="288"/>
                  </a:moveTo>
                  <a:lnTo>
                    <a:pt x="144" y="0"/>
                  </a:lnTo>
                  <a:lnTo>
                    <a:pt x="0" y="72"/>
                  </a:lnTo>
                  <a:lnTo>
                    <a:pt x="576" y="360"/>
                  </a:lnTo>
                  <a:lnTo>
                    <a:pt x="720" y="288"/>
                  </a:lnTo>
                  <a:close/>
                </a:path>
              </a:pathLst>
            </a:custGeom>
            <a:solidFill>
              <a:srgbClr val="EAEAE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79" name="Group 13"/>
          <p:cNvGrpSpPr>
            <a:grpSpLocks/>
          </p:cNvGrpSpPr>
          <p:nvPr/>
        </p:nvGrpSpPr>
        <p:grpSpPr bwMode="auto">
          <a:xfrm>
            <a:off x="5802318" y="1255981"/>
            <a:ext cx="1143001" cy="2057400"/>
            <a:chOff x="2241" y="1458"/>
            <a:chExt cx="720" cy="1296"/>
          </a:xfrm>
        </p:grpSpPr>
        <p:sp>
          <p:nvSpPr>
            <p:cNvPr id="123" name="Freeform 14"/>
            <p:cNvSpPr>
              <a:spLocks/>
            </p:cNvSpPr>
            <p:nvPr/>
          </p:nvSpPr>
          <p:spPr bwMode="auto">
            <a:xfrm>
              <a:off x="2241" y="1458"/>
              <a:ext cx="576" cy="1296"/>
            </a:xfrm>
            <a:custGeom>
              <a:avLst/>
              <a:gdLst/>
              <a:ahLst/>
              <a:cxnLst>
                <a:cxn ang="0">
                  <a:pos x="576" y="288"/>
                </a:cxn>
                <a:cxn ang="0">
                  <a:pos x="0" y="0"/>
                </a:cxn>
                <a:cxn ang="0">
                  <a:pos x="0" y="1008"/>
                </a:cxn>
                <a:cxn ang="0">
                  <a:pos x="576" y="1296"/>
                </a:cxn>
                <a:cxn ang="0">
                  <a:pos x="576" y="288"/>
                </a:cxn>
              </a:cxnLst>
              <a:rect l="0" t="0" r="r" b="b"/>
              <a:pathLst>
                <a:path w="576" h="1296">
                  <a:moveTo>
                    <a:pt x="576" y="288"/>
                  </a:moveTo>
                  <a:lnTo>
                    <a:pt x="0" y="0"/>
                  </a:lnTo>
                  <a:lnTo>
                    <a:pt x="0" y="1008"/>
                  </a:lnTo>
                  <a:lnTo>
                    <a:pt x="576" y="1296"/>
                  </a:lnTo>
                  <a:lnTo>
                    <a:pt x="576" y="28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24" name="Freeform 15"/>
            <p:cNvSpPr>
              <a:spLocks/>
            </p:cNvSpPr>
            <p:nvPr/>
          </p:nvSpPr>
          <p:spPr bwMode="auto">
            <a:xfrm>
              <a:off x="2817" y="1674"/>
              <a:ext cx="144" cy="1080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44" y="0"/>
                </a:cxn>
                <a:cxn ang="0">
                  <a:pos x="144" y="1008"/>
                </a:cxn>
                <a:cxn ang="0">
                  <a:pos x="0" y="1080"/>
                </a:cxn>
                <a:cxn ang="0">
                  <a:pos x="0" y="72"/>
                </a:cxn>
              </a:cxnLst>
              <a:rect l="0" t="0" r="r" b="b"/>
              <a:pathLst>
                <a:path w="144" h="1080">
                  <a:moveTo>
                    <a:pt x="0" y="72"/>
                  </a:moveTo>
                  <a:lnTo>
                    <a:pt x="144" y="0"/>
                  </a:lnTo>
                  <a:lnTo>
                    <a:pt x="144" y="1008"/>
                  </a:lnTo>
                  <a:lnTo>
                    <a:pt x="0" y="1080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</p:grpSp>
      <p:grpSp>
        <p:nvGrpSpPr>
          <p:cNvPr id="80" name="Group 17"/>
          <p:cNvGrpSpPr>
            <a:grpSpLocks/>
          </p:cNvGrpSpPr>
          <p:nvPr/>
        </p:nvGrpSpPr>
        <p:grpSpPr bwMode="auto">
          <a:xfrm>
            <a:off x="5083180" y="1500456"/>
            <a:ext cx="1143001" cy="2171700"/>
            <a:chOff x="2241" y="1386"/>
            <a:chExt cx="720" cy="1368"/>
          </a:xfrm>
        </p:grpSpPr>
        <p:sp>
          <p:nvSpPr>
            <p:cNvPr id="120" name="Freeform 18"/>
            <p:cNvSpPr>
              <a:spLocks/>
            </p:cNvSpPr>
            <p:nvPr/>
          </p:nvSpPr>
          <p:spPr bwMode="auto">
            <a:xfrm>
              <a:off x="2241" y="1458"/>
              <a:ext cx="576" cy="1296"/>
            </a:xfrm>
            <a:custGeom>
              <a:avLst/>
              <a:gdLst/>
              <a:ahLst/>
              <a:cxnLst>
                <a:cxn ang="0">
                  <a:pos x="576" y="288"/>
                </a:cxn>
                <a:cxn ang="0">
                  <a:pos x="0" y="0"/>
                </a:cxn>
                <a:cxn ang="0">
                  <a:pos x="0" y="1008"/>
                </a:cxn>
                <a:cxn ang="0">
                  <a:pos x="576" y="1296"/>
                </a:cxn>
                <a:cxn ang="0">
                  <a:pos x="576" y="288"/>
                </a:cxn>
              </a:cxnLst>
              <a:rect l="0" t="0" r="r" b="b"/>
              <a:pathLst>
                <a:path w="576" h="1296">
                  <a:moveTo>
                    <a:pt x="576" y="288"/>
                  </a:moveTo>
                  <a:lnTo>
                    <a:pt x="0" y="0"/>
                  </a:lnTo>
                  <a:lnTo>
                    <a:pt x="0" y="1008"/>
                  </a:lnTo>
                  <a:lnTo>
                    <a:pt x="576" y="1296"/>
                  </a:lnTo>
                  <a:lnTo>
                    <a:pt x="576" y="288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21" name="Freeform 19"/>
            <p:cNvSpPr>
              <a:spLocks/>
            </p:cNvSpPr>
            <p:nvPr/>
          </p:nvSpPr>
          <p:spPr bwMode="auto">
            <a:xfrm>
              <a:off x="2817" y="1674"/>
              <a:ext cx="144" cy="1080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44" y="0"/>
                </a:cxn>
                <a:cxn ang="0">
                  <a:pos x="144" y="1008"/>
                </a:cxn>
                <a:cxn ang="0">
                  <a:pos x="0" y="1080"/>
                </a:cxn>
                <a:cxn ang="0">
                  <a:pos x="0" y="72"/>
                </a:cxn>
              </a:cxnLst>
              <a:rect l="0" t="0" r="r" b="b"/>
              <a:pathLst>
                <a:path w="144" h="1080">
                  <a:moveTo>
                    <a:pt x="0" y="72"/>
                  </a:moveTo>
                  <a:lnTo>
                    <a:pt x="144" y="0"/>
                  </a:lnTo>
                  <a:lnTo>
                    <a:pt x="144" y="1008"/>
                  </a:lnTo>
                  <a:lnTo>
                    <a:pt x="0" y="1080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80808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  <p:sp>
          <p:nvSpPr>
            <p:cNvPr id="122" name="Freeform 20"/>
            <p:cNvSpPr>
              <a:spLocks/>
            </p:cNvSpPr>
            <p:nvPr/>
          </p:nvSpPr>
          <p:spPr bwMode="auto">
            <a:xfrm>
              <a:off x="2241" y="1386"/>
              <a:ext cx="720" cy="360"/>
            </a:xfrm>
            <a:custGeom>
              <a:avLst/>
              <a:gdLst/>
              <a:ahLst/>
              <a:cxnLst>
                <a:cxn ang="0">
                  <a:pos x="720" y="288"/>
                </a:cxn>
                <a:cxn ang="0">
                  <a:pos x="144" y="0"/>
                </a:cxn>
                <a:cxn ang="0">
                  <a:pos x="0" y="72"/>
                </a:cxn>
                <a:cxn ang="0">
                  <a:pos x="576" y="360"/>
                </a:cxn>
                <a:cxn ang="0">
                  <a:pos x="720" y="288"/>
                </a:cxn>
              </a:cxnLst>
              <a:rect l="0" t="0" r="r" b="b"/>
              <a:pathLst>
                <a:path w="720" h="360">
                  <a:moveTo>
                    <a:pt x="720" y="288"/>
                  </a:moveTo>
                  <a:lnTo>
                    <a:pt x="144" y="0"/>
                  </a:lnTo>
                  <a:lnTo>
                    <a:pt x="0" y="72"/>
                  </a:lnTo>
                  <a:lnTo>
                    <a:pt x="576" y="360"/>
                  </a:lnTo>
                  <a:lnTo>
                    <a:pt x="720" y="288"/>
                  </a:lnTo>
                  <a:close/>
                </a:path>
              </a:pathLst>
            </a:custGeom>
            <a:solidFill>
              <a:srgbClr val="EAEAE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81" name="Group 21"/>
          <p:cNvGrpSpPr>
            <a:grpSpLocks/>
          </p:cNvGrpSpPr>
          <p:nvPr/>
        </p:nvGrpSpPr>
        <p:grpSpPr bwMode="auto">
          <a:xfrm>
            <a:off x="4362455" y="1859231"/>
            <a:ext cx="1143001" cy="2171700"/>
            <a:chOff x="2241" y="1386"/>
            <a:chExt cx="720" cy="1368"/>
          </a:xfrm>
        </p:grpSpPr>
        <p:sp>
          <p:nvSpPr>
            <p:cNvPr id="117" name="Freeform 22"/>
            <p:cNvSpPr>
              <a:spLocks/>
            </p:cNvSpPr>
            <p:nvPr/>
          </p:nvSpPr>
          <p:spPr bwMode="auto">
            <a:xfrm>
              <a:off x="2241" y="1458"/>
              <a:ext cx="576" cy="1296"/>
            </a:xfrm>
            <a:custGeom>
              <a:avLst/>
              <a:gdLst/>
              <a:ahLst/>
              <a:cxnLst>
                <a:cxn ang="0">
                  <a:pos x="576" y="288"/>
                </a:cxn>
                <a:cxn ang="0">
                  <a:pos x="0" y="0"/>
                </a:cxn>
                <a:cxn ang="0">
                  <a:pos x="0" y="1008"/>
                </a:cxn>
                <a:cxn ang="0">
                  <a:pos x="576" y="1296"/>
                </a:cxn>
                <a:cxn ang="0">
                  <a:pos x="576" y="288"/>
                </a:cxn>
              </a:cxnLst>
              <a:rect l="0" t="0" r="r" b="b"/>
              <a:pathLst>
                <a:path w="576" h="1296">
                  <a:moveTo>
                    <a:pt x="576" y="288"/>
                  </a:moveTo>
                  <a:lnTo>
                    <a:pt x="0" y="0"/>
                  </a:lnTo>
                  <a:lnTo>
                    <a:pt x="0" y="1008"/>
                  </a:lnTo>
                  <a:lnTo>
                    <a:pt x="576" y="1296"/>
                  </a:lnTo>
                  <a:lnTo>
                    <a:pt x="576" y="288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18" name="Freeform 23"/>
            <p:cNvSpPr>
              <a:spLocks/>
            </p:cNvSpPr>
            <p:nvPr/>
          </p:nvSpPr>
          <p:spPr bwMode="auto">
            <a:xfrm>
              <a:off x="2817" y="1674"/>
              <a:ext cx="144" cy="1080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44" y="0"/>
                </a:cxn>
                <a:cxn ang="0">
                  <a:pos x="144" y="1008"/>
                </a:cxn>
                <a:cxn ang="0">
                  <a:pos x="0" y="1080"/>
                </a:cxn>
                <a:cxn ang="0">
                  <a:pos x="0" y="72"/>
                </a:cxn>
              </a:cxnLst>
              <a:rect l="0" t="0" r="r" b="b"/>
              <a:pathLst>
                <a:path w="144" h="1080">
                  <a:moveTo>
                    <a:pt x="0" y="72"/>
                  </a:moveTo>
                  <a:lnTo>
                    <a:pt x="144" y="0"/>
                  </a:lnTo>
                  <a:lnTo>
                    <a:pt x="144" y="1008"/>
                  </a:lnTo>
                  <a:lnTo>
                    <a:pt x="0" y="1080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80808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  <p:sp>
          <p:nvSpPr>
            <p:cNvPr id="119" name="Freeform 24"/>
            <p:cNvSpPr>
              <a:spLocks/>
            </p:cNvSpPr>
            <p:nvPr/>
          </p:nvSpPr>
          <p:spPr bwMode="auto">
            <a:xfrm>
              <a:off x="2241" y="1386"/>
              <a:ext cx="720" cy="360"/>
            </a:xfrm>
            <a:custGeom>
              <a:avLst/>
              <a:gdLst/>
              <a:ahLst/>
              <a:cxnLst>
                <a:cxn ang="0">
                  <a:pos x="720" y="288"/>
                </a:cxn>
                <a:cxn ang="0">
                  <a:pos x="144" y="0"/>
                </a:cxn>
                <a:cxn ang="0">
                  <a:pos x="0" y="72"/>
                </a:cxn>
                <a:cxn ang="0">
                  <a:pos x="576" y="360"/>
                </a:cxn>
                <a:cxn ang="0">
                  <a:pos x="720" y="288"/>
                </a:cxn>
              </a:cxnLst>
              <a:rect l="0" t="0" r="r" b="b"/>
              <a:pathLst>
                <a:path w="720" h="360">
                  <a:moveTo>
                    <a:pt x="720" y="288"/>
                  </a:moveTo>
                  <a:lnTo>
                    <a:pt x="144" y="0"/>
                  </a:lnTo>
                  <a:lnTo>
                    <a:pt x="0" y="72"/>
                  </a:lnTo>
                  <a:lnTo>
                    <a:pt x="576" y="360"/>
                  </a:lnTo>
                  <a:lnTo>
                    <a:pt x="720" y="288"/>
                  </a:lnTo>
                  <a:close/>
                </a:path>
              </a:pathLst>
            </a:custGeom>
            <a:solidFill>
              <a:srgbClr val="EAEAE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82" name="Group 25"/>
          <p:cNvGrpSpPr>
            <a:grpSpLocks/>
          </p:cNvGrpSpPr>
          <p:nvPr/>
        </p:nvGrpSpPr>
        <p:grpSpPr bwMode="auto">
          <a:xfrm>
            <a:off x="3643317" y="2218006"/>
            <a:ext cx="1143001" cy="2171700"/>
            <a:chOff x="2241" y="1386"/>
            <a:chExt cx="720" cy="1368"/>
          </a:xfrm>
        </p:grpSpPr>
        <p:sp>
          <p:nvSpPr>
            <p:cNvPr id="114" name="Freeform 26"/>
            <p:cNvSpPr>
              <a:spLocks/>
            </p:cNvSpPr>
            <p:nvPr/>
          </p:nvSpPr>
          <p:spPr bwMode="auto">
            <a:xfrm>
              <a:off x="2241" y="1458"/>
              <a:ext cx="576" cy="1296"/>
            </a:xfrm>
            <a:custGeom>
              <a:avLst/>
              <a:gdLst/>
              <a:ahLst/>
              <a:cxnLst>
                <a:cxn ang="0">
                  <a:pos x="576" y="288"/>
                </a:cxn>
                <a:cxn ang="0">
                  <a:pos x="0" y="0"/>
                </a:cxn>
                <a:cxn ang="0">
                  <a:pos x="0" y="1008"/>
                </a:cxn>
                <a:cxn ang="0">
                  <a:pos x="576" y="1296"/>
                </a:cxn>
                <a:cxn ang="0">
                  <a:pos x="576" y="288"/>
                </a:cxn>
              </a:cxnLst>
              <a:rect l="0" t="0" r="r" b="b"/>
              <a:pathLst>
                <a:path w="576" h="1296">
                  <a:moveTo>
                    <a:pt x="576" y="288"/>
                  </a:moveTo>
                  <a:lnTo>
                    <a:pt x="0" y="0"/>
                  </a:lnTo>
                  <a:lnTo>
                    <a:pt x="0" y="1008"/>
                  </a:lnTo>
                  <a:lnTo>
                    <a:pt x="576" y="1296"/>
                  </a:lnTo>
                  <a:lnTo>
                    <a:pt x="576" y="288"/>
                  </a:lnTo>
                  <a:close/>
                </a:path>
              </a:pathLst>
            </a:custGeom>
            <a:gradFill flip="none" rotWithShape="1">
              <a:gsLst>
                <a:gs pos="15000">
                  <a:schemeClr val="bg1"/>
                </a:gs>
                <a:gs pos="50000">
                  <a:srgbClr val="0099FF">
                    <a:shade val="67500"/>
                    <a:satMod val="115000"/>
                  </a:srgbClr>
                </a:gs>
                <a:gs pos="100000">
                  <a:srgbClr val="0099FF">
                    <a:shade val="100000"/>
                    <a:satMod val="115000"/>
                  </a:srgbClr>
                </a:gs>
              </a:gsLst>
              <a:lin ang="810000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16" name="Freeform 28"/>
            <p:cNvSpPr>
              <a:spLocks/>
            </p:cNvSpPr>
            <p:nvPr/>
          </p:nvSpPr>
          <p:spPr bwMode="auto">
            <a:xfrm>
              <a:off x="2241" y="1386"/>
              <a:ext cx="720" cy="360"/>
            </a:xfrm>
            <a:custGeom>
              <a:avLst/>
              <a:gdLst/>
              <a:ahLst/>
              <a:cxnLst>
                <a:cxn ang="0">
                  <a:pos x="720" y="288"/>
                </a:cxn>
                <a:cxn ang="0">
                  <a:pos x="144" y="0"/>
                </a:cxn>
                <a:cxn ang="0">
                  <a:pos x="0" y="72"/>
                </a:cxn>
                <a:cxn ang="0">
                  <a:pos x="576" y="360"/>
                </a:cxn>
                <a:cxn ang="0">
                  <a:pos x="720" y="288"/>
                </a:cxn>
              </a:cxnLst>
              <a:rect l="0" t="0" r="r" b="b"/>
              <a:pathLst>
                <a:path w="720" h="360">
                  <a:moveTo>
                    <a:pt x="720" y="288"/>
                  </a:moveTo>
                  <a:lnTo>
                    <a:pt x="144" y="0"/>
                  </a:lnTo>
                  <a:lnTo>
                    <a:pt x="0" y="72"/>
                  </a:lnTo>
                  <a:lnTo>
                    <a:pt x="576" y="360"/>
                  </a:lnTo>
                  <a:lnTo>
                    <a:pt x="720" y="288"/>
                  </a:lnTo>
                  <a:close/>
                </a:path>
              </a:pathLst>
            </a:custGeom>
            <a:solidFill>
              <a:srgbClr val="EAEAE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83" name="Group 29"/>
          <p:cNvGrpSpPr>
            <a:grpSpLocks/>
          </p:cNvGrpSpPr>
          <p:nvPr/>
        </p:nvGrpSpPr>
        <p:grpSpPr bwMode="auto">
          <a:xfrm>
            <a:off x="2922591" y="2576781"/>
            <a:ext cx="1143001" cy="2171700"/>
            <a:chOff x="2241" y="1386"/>
            <a:chExt cx="720" cy="1368"/>
          </a:xfrm>
        </p:grpSpPr>
        <p:sp>
          <p:nvSpPr>
            <p:cNvPr id="111" name="Freeform 30"/>
            <p:cNvSpPr>
              <a:spLocks/>
            </p:cNvSpPr>
            <p:nvPr/>
          </p:nvSpPr>
          <p:spPr bwMode="auto">
            <a:xfrm>
              <a:off x="2241" y="1458"/>
              <a:ext cx="576" cy="1296"/>
            </a:xfrm>
            <a:custGeom>
              <a:avLst/>
              <a:gdLst/>
              <a:ahLst/>
              <a:cxnLst>
                <a:cxn ang="0">
                  <a:pos x="576" y="288"/>
                </a:cxn>
                <a:cxn ang="0">
                  <a:pos x="0" y="0"/>
                </a:cxn>
                <a:cxn ang="0">
                  <a:pos x="0" y="1008"/>
                </a:cxn>
                <a:cxn ang="0">
                  <a:pos x="576" y="1296"/>
                </a:cxn>
                <a:cxn ang="0">
                  <a:pos x="576" y="288"/>
                </a:cxn>
              </a:cxnLst>
              <a:rect l="0" t="0" r="r" b="b"/>
              <a:pathLst>
                <a:path w="576" h="1296">
                  <a:moveTo>
                    <a:pt x="576" y="288"/>
                  </a:moveTo>
                  <a:lnTo>
                    <a:pt x="0" y="0"/>
                  </a:lnTo>
                  <a:lnTo>
                    <a:pt x="0" y="1008"/>
                  </a:lnTo>
                  <a:lnTo>
                    <a:pt x="576" y="1296"/>
                  </a:lnTo>
                  <a:lnTo>
                    <a:pt x="576" y="288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12" name="Freeform 31"/>
            <p:cNvSpPr>
              <a:spLocks/>
            </p:cNvSpPr>
            <p:nvPr/>
          </p:nvSpPr>
          <p:spPr bwMode="auto">
            <a:xfrm>
              <a:off x="2817" y="1674"/>
              <a:ext cx="144" cy="1080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44" y="0"/>
                </a:cxn>
                <a:cxn ang="0">
                  <a:pos x="144" y="1008"/>
                </a:cxn>
                <a:cxn ang="0">
                  <a:pos x="0" y="1080"/>
                </a:cxn>
                <a:cxn ang="0">
                  <a:pos x="0" y="72"/>
                </a:cxn>
              </a:cxnLst>
              <a:rect l="0" t="0" r="r" b="b"/>
              <a:pathLst>
                <a:path w="144" h="1080">
                  <a:moveTo>
                    <a:pt x="0" y="72"/>
                  </a:moveTo>
                  <a:lnTo>
                    <a:pt x="144" y="0"/>
                  </a:lnTo>
                  <a:lnTo>
                    <a:pt x="144" y="1008"/>
                  </a:lnTo>
                  <a:lnTo>
                    <a:pt x="0" y="1080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80808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  <p:sp>
          <p:nvSpPr>
            <p:cNvPr id="113" name="Freeform 32"/>
            <p:cNvSpPr>
              <a:spLocks/>
            </p:cNvSpPr>
            <p:nvPr/>
          </p:nvSpPr>
          <p:spPr bwMode="auto">
            <a:xfrm>
              <a:off x="2241" y="1386"/>
              <a:ext cx="720" cy="360"/>
            </a:xfrm>
            <a:custGeom>
              <a:avLst/>
              <a:gdLst/>
              <a:ahLst/>
              <a:cxnLst>
                <a:cxn ang="0">
                  <a:pos x="720" y="288"/>
                </a:cxn>
                <a:cxn ang="0">
                  <a:pos x="144" y="0"/>
                </a:cxn>
                <a:cxn ang="0">
                  <a:pos x="0" y="72"/>
                </a:cxn>
                <a:cxn ang="0">
                  <a:pos x="576" y="360"/>
                </a:cxn>
                <a:cxn ang="0">
                  <a:pos x="720" y="288"/>
                </a:cxn>
              </a:cxnLst>
              <a:rect l="0" t="0" r="r" b="b"/>
              <a:pathLst>
                <a:path w="720" h="360">
                  <a:moveTo>
                    <a:pt x="720" y="288"/>
                  </a:moveTo>
                  <a:lnTo>
                    <a:pt x="144" y="0"/>
                  </a:lnTo>
                  <a:lnTo>
                    <a:pt x="0" y="72"/>
                  </a:lnTo>
                  <a:lnTo>
                    <a:pt x="576" y="360"/>
                  </a:lnTo>
                  <a:lnTo>
                    <a:pt x="720" y="288"/>
                  </a:lnTo>
                  <a:close/>
                </a:path>
              </a:pathLst>
            </a:custGeom>
            <a:solidFill>
              <a:srgbClr val="EAEAE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84" name="Group 33"/>
          <p:cNvGrpSpPr>
            <a:grpSpLocks/>
          </p:cNvGrpSpPr>
          <p:nvPr/>
        </p:nvGrpSpPr>
        <p:grpSpPr bwMode="auto">
          <a:xfrm>
            <a:off x="2201866" y="2935556"/>
            <a:ext cx="1143001" cy="2171700"/>
            <a:chOff x="2241" y="1386"/>
            <a:chExt cx="720" cy="1368"/>
          </a:xfrm>
        </p:grpSpPr>
        <p:sp>
          <p:nvSpPr>
            <p:cNvPr id="108" name="Freeform 34"/>
            <p:cNvSpPr>
              <a:spLocks/>
            </p:cNvSpPr>
            <p:nvPr/>
          </p:nvSpPr>
          <p:spPr bwMode="auto">
            <a:xfrm>
              <a:off x="2241" y="1458"/>
              <a:ext cx="576" cy="1296"/>
            </a:xfrm>
            <a:custGeom>
              <a:avLst/>
              <a:gdLst/>
              <a:ahLst/>
              <a:cxnLst>
                <a:cxn ang="0">
                  <a:pos x="576" y="288"/>
                </a:cxn>
                <a:cxn ang="0">
                  <a:pos x="0" y="0"/>
                </a:cxn>
                <a:cxn ang="0">
                  <a:pos x="0" y="1008"/>
                </a:cxn>
                <a:cxn ang="0">
                  <a:pos x="576" y="1296"/>
                </a:cxn>
                <a:cxn ang="0">
                  <a:pos x="576" y="288"/>
                </a:cxn>
              </a:cxnLst>
              <a:rect l="0" t="0" r="r" b="b"/>
              <a:pathLst>
                <a:path w="576" h="1296">
                  <a:moveTo>
                    <a:pt x="576" y="288"/>
                  </a:moveTo>
                  <a:lnTo>
                    <a:pt x="0" y="0"/>
                  </a:lnTo>
                  <a:lnTo>
                    <a:pt x="0" y="1008"/>
                  </a:lnTo>
                  <a:lnTo>
                    <a:pt x="576" y="1296"/>
                  </a:lnTo>
                  <a:lnTo>
                    <a:pt x="576" y="288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09" name="Freeform 35"/>
            <p:cNvSpPr>
              <a:spLocks/>
            </p:cNvSpPr>
            <p:nvPr/>
          </p:nvSpPr>
          <p:spPr bwMode="auto">
            <a:xfrm>
              <a:off x="2817" y="1674"/>
              <a:ext cx="144" cy="1080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44" y="0"/>
                </a:cxn>
                <a:cxn ang="0">
                  <a:pos x="144" y="1008"/>
                </a:cxn>
                <a:cxn ang="0">
                  <a:pos x="0" y="1080"/>
                </a:cxn>
                <a:cxn ang="0">
                  <a:pos x="0" y="72"/>
                </a:cxn>
              </a:cxnLst>
              <a:rect l="0" t="0" r="r" b="b"/>
              <a:pathLst>
                <a:path w="144" h="1080">
                  <a:moveTo>
                    <a:pt x="0" y="72"/>
                  </a:moveTo>
                  <a:lnTo>
                    <a:pt x="144" y="0"/>
                  </a:lnTo>
                  <a:lnTo>
                    <a:pt x="144" y="1008"/>
                  </a:lnTo>
                  <a:lnTo>
                    <a:pt x="0" y="1080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80808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  <p:sp>
          <p:nvSpPr>
            <p:cNvPr id="110" name="Freeform 36"/>
            <p:cNvSpPr>
              <a:spLocks/>
            </p:cNvSpPr>
            <p:nvPr/>
          </p:nvSpPr>
          <p:spPr bwMode="auto">
            <a:xfrm>
              <a:off x="2241" y="1386"/>
              <a:ext cx="720" cy="360"/>
            </a:xfrm>
            <a:custGeom>
              <a:avLst/>
              <a:gdLst/>
              <a:ahLst/>
              <a:cxnLst>
                <a:cxn ang="0">
                  <a:pos x="720" y="288"/>
                </a:cxn>
                <a:cxn ang="0">
                  <a:pos x="144" y="0"/>
                </a:cxn>
                <a:cxn ang="0">
                  <a:pos x="0" y="72"/>
                </a:cxn>
                <a:cxn ang="0">
                  <a:pos x="576" y="360"/>
                </a:cxn>
                <a:cxn ang="0">
                  <a:pos x="720" y="288"/>
                </a:cxn>
              </a:cxnLst>
              <a:rect l="0" t="0" r="r" b="b"/>
              <a:pathLst>
                <a:path w="720" h="360">
                  <a:moveTo>
                    <a:pt x="720" y="288"/>
                  </a:moveTo>
                  <a:lnTo>
                    <a:pt x="144" y="0"/>
                  </a:lnTo>
                  <a:lnTo>
                    <a:pt x="0" y="72"/>
                  </a:lnTo>
                  <a:lnTo>
                    <a:pt x="576" y="360"/>
                  </a:lnTo>
                  <a:lnTo>
                    <a:pt x="720" y="288"/>
                  </a:lnTo>
                  <a:close/>
                </a:path>
              </a:pathLst>
            </a:custGeom>
            <a:solidFill>
              <a:srgbClr val="EAEAE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85" name="Group 37"/>
          <p:cNvGrpSpPr>
            <a:grpSpLocks/>
          </p:cNvGrpSpPr>
          <p:nvPr/>
        </p:nvGrpSpPr>
        <p:grpSpPr bwMode="auto">
          <a:xfrm>
            <a:off x="1482728" y="3294331"/>
            <a:ext cx="1143001" cy="2171700"/>
            <a:chOff x="2241" y="1386"/>
            <a:chExt cx="720" cy="1368"/>
          </a:xfrm>
        </p:grpSpPr>
        <p:sp>
          <p:nvSpPr>
            <p:cNvPr id="105" name="Freeform 38"/>
            <p:cNvSpPr>
              <a:spLocks/>
            </p:cNvSpPr>
            <p:nvPr/>
          </p:nvSpPr>
          <p:spPr bwMode="auto">
            <a:xfrm>
              <a:off x="2241" y="1458"/>
              <a:ext cx="576" cy="1296"/>
            </a:xfrm>
            <a:custGeom>
              <a:avLst/>
              <a:gdLst/>
              <a:ahLst/>
              <a:cxnLst>
                <a:cxn ang="0">
                  <a:pos x="576" y="288"/>
                </a:cxn>
                <a:cxn ang="0">
                  <a:pos x="0" y="0"/>
                </a:cxn>
                <a:cxn ang="0">
                  <a:pos x="0" y="1008"/>
                </a:cxn>
                <a:cxn ang="0">
                  <a:pos x="576" y="1296"/>
                </a:cxn>
                <a:cxn ang="0">
                  <a:pos x="576" y="288"/>
                </a:cxn>
              </a:cxnLst>
              <a:rect l="0" t="0" r="r" b="b"/>
              <a:pathLst>
                <a:path w="576" h="1296">
                  <a:moveTo>
                    <a:pt x="576" y="288"/>
                  </a:moveTo>
                  <a:lnTo>
                    <a:pt x="0" y="0"/>
                  </a:lnTo>
                  <a:lnTo>
                    <a:pt x="0" y="1008"/>
                  </a:lnTo>
                  <a:lnTo>
                    <a:pt x="576" y="1296"/>
                  </a:lnTo>
                  <a:lnTo>
                    <a:pt x="576" y="288"/>
                  </a:lnTo>
                  <a:close/>
                </a:path>
              </a:pathLst>
            </a:custGeom>
            <a:gradFill rotWithShape="1">
              <a:gsLst>
                <a:gs pos="0">
                  <a:srgbClr val="FF6400"/>
                </a:gs>
                <a:gs pos="100000">
                  <a:srgbClr val="FFC800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06" name="Freeform 39"/>
            <p:cNvSpPr>
              <a:spLocks/>
            </p:cNvSpPr>
            <p:nvPr/>
          </p:nvSpPr>
          <p:spPr bwMode="auto">
            <a:xfrm>
              <a:off x="2817" y="1674"/>
              <a:ext cx="144" cy="1080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44" y="0"/>
                </a:cxn>
                <a:cxn ang="0">
                  <a:pos x="144" y="1008"/>
                </a:cxn>
                <a:cxn ang="0">
                  <a:pos x="0" y="1080"/>
                </a:cxn>
                <a:cxn ang="0">
                  <a:pos x="0" y="72"/>
                </a:cxn>
              </a:cxnLst>
              <a:rect l="0" t="0" r="r" b="b"/>
              <a:pathLst>
                <a:path w="144" h="1080">
                  <a:moveTo>
                    <a:pt x="0" y="72"/>
                  </a:moveTo>
                  <a:lnTo>
                    <a:pt x="144" y="0"/>
                  </a:lnTo>
                  <a:lnTo>
                    <a:pt x="144" y="1008"/>
                  </a:lnTo>
                  <a:lnTo>
                    <a:pt x="0" y="1080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96000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07" name="Freeform 40"/>
            <p:cNvSpPr>
              <a:spLocks/>
            </p:cNvSpPr>
            <p:nvPr/>
          </p:nvSpPr>
          <p:spPr bwMode="auto">
            <a:xfrm>
              <a:off x="2241" y="1386"/>
              <a:ext cx="720" cy="360"/>
            </a:xfrm>
            <a:custGeom>
              <a:avLst/>
              <a:gdLst/>
              <a:ahLst/>
              <a:cxnLst>
                <a:cxn ang="0">
                  <a:pos x="720" y="288"/>
                </a:cxn>
                <a:cxn ang="0">
                  <a:pos x="144" y="0"/>
                </a:cxn>
                <a:cxn ang="0">
                  <a:pos x="0" y="72"/>
                </a:cxn>
                <a:cxn ang="0">
                  <a:pos x="576" y="360"/>
                </a:cxn>
                <a:cxn ang="0">
                  <a:pos x="720" y="288"/>
                </a:cxn>
              </a:cxnLst>
              <a:rect l="0" t="0" r="r" b="b"/>
              <a:pathLst>
                <a:path w="720" h="360">
                  <a:moveTo>
                    <a:pt x="720" y="288"/>
                  </a:moveTo>
                  <a:lnTo>
                    <a:pt x="144" y="0"/>
                  </a:lnTo>
                  <a:lnTo>
                    <a:pt x="0" y="72"/>
                  </a:lnTo>
                  <a:lnTo>
                    <a:pt x="576" y="360"/>
                  </a:lnTo>
                  <a:lnTo>
                    <a:pt x="720" y="288"/>
                  </a:lnTo>
                  <a:close/>
                </a:path>
              </a:pathLst>
            </a:custGeom>
            <a:gradFill rotWithShape="1">
              <a:gsLst>
                <a:gs pos="0">
                  <a:srgbClr val="FFC800"/>
                </a:gs>
                <a:gs pos="100000">
                  <a:srgbClr val="FFC800">
                    <a:gamma/>
                    <a:tint val="0"/>
                    <a:invGamma/>
                  </a:srgbClr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</p:grpSp>
      <p:sp>
        <p:nvSpPr>
          <p:cNvPr id="86" name="Freeform 41"/>
          <p:cNvSpPr>
            <a:spLocks/>
          </p:cNvSpPr>
          <p:nvPr/>
        </p:nvSpPr>
        <p:spPr bwMode="auto">
          <a:xfrm>
            <a:off x="2625728" y="5537468"/>
            <a:ext cx="871538" cy="436562"/>
          </a:xfrm>
          <a:custGeom>
            <a:avLst/>
            <a:gdLst/>
            <a:ahLst/>
            <a:cxnLst>
              <a:cxn ang="0">
                <a:pos x="432" y="72"/>
              </a:cxn>
              <a:cxn ang="0">
                <a:pos x="576" y="0"/>
              </a:cxn>
              <a:cxn ang="0">
                <a:pos x="0" y="0"/>
              </a:cxn>
              <a:cxn ang="0">
                <a:pos x="0" y="288"/>
              </a:cxn>
              <a:cxn ang="0">
                <a:pos x="144" y="216"/>
              </a:cxn>
              <a:cxn ang="0">
                <a:pos x="720" y="504"/>
              </a:cxn>
              <a:cxn ang="0">
                <a:pos x="1008" y="360"/>
              </a:cxn>
              <a:cxn ang="0">
                <a:pos x="432" y="72"/>
              </a:cxn>
            </a:cxnLst>
            <a:rect l="0" t="0" r="r" b="b"/>
            <a:pathLst>
              <a:path w="1008" h="504">
                <a:moveTo>
                  <a:pt x="432" y="72"/>
                </a:moveTo>
                <a:lnTo>
                  <a:pt x="576" y="0"/>
                </a:lnTo>
                <a:lnTo>
                  <a:pt x="0" y="0"/>
                </a:lnTo>
                <a:lnTo>
                  <a:pt x="0" y="288"/>
                </a:lnTo>
                <a:lnTo>
                  <a:pt x="144" y="216"/>
                </a:lnTo>
                <a:lnTo>
                  <a:pt x="720" y="504"/>
                </a:lnTo>
                <a:lnTo>
                  <a:pt x="1008" y="360"/>
                </a:lnTo>
                <a:lnTo>
                  <a:pt x="432" y="72"/>
                </a:lnTo>
                <a:close/>
              </a:path>
            </a:pathLst>
          </a:custGeom>
          <a:gradFill rotWithShape="1">
            <a:gsLst>
              <a:gs pos="0">
                <a:srgbClr val="FFC800"/>
              </a:gs>
              <a:gs pos="100000">
                <a:srgbClr val="FFC800">
                  <a:gamma/>
                  <a:tint val="0"/>
                  <a:invGamma/>
                  <a:alpha val="0"/>
                </a:srgbClr>
              </a:gs>
            </a:gsLst>
            <a:lin ang="5400000" scaled="1"/>
          </a:gradFill>
          <a:ln w="1270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87" name="Freeform 42"/>
          <p:cNvSpPr>
            <a:spLocks/>
          </p:cNvSpPr>
          <p:nvPr/>
        </p:nvSpPr>
        <p:spPr bwMode="auto">
          <a:xfrm>
            <a:off x="285752" y="5277118"/>
            <a:ext cx="1600201" cy="800100"/>
          </a:xfrm>
          <a:custGeom>
            <a:avLst/>
            <a:gdLst/>
            <a:ahLst/>
            <a:cxnLst>
              <a:cxn ang="0">
                <a:pos x="432" y="432"/>
              </a:cxn>
              <a:cxn ang="0">
                <a:pos x="576" y="504"/>
              </a:cxn>
              <a:cxn ang="0">
                <a:pos x="0" y="504"/>
              </a:cxn>
              <a:cxn ang="0">
                <a:pos x="0" y="216"/>
              </a:cxn>
              <a:cxn ang="0">
                <a:pos x="144" y="288"/>
              </a:cxn>
              <a:cxn ang="0">
                <a:pos x="720" y="0"/>
              </a:cxn>
              <a:cxn ang="0">
                <a:pos x="1008" y="144"/>
              </a:cxn>
              <a:cxn ang="0">
                <a:pos x="432" y="432"/>
              </a:cxn>
            </a:cxnLst>
            <a:rect l="0" t="0" r="r" b="b"/>
            <a:pathLst>
              <a:path w="1008" h="504">
                <a:moveTo>
                  <a:pt x="432" y="432"/>
                </a:moveTo>
                <a:lnTo>
                  <a:pt x="576" y="504"/>
                </a:lnTo>
                <a:lnTo>
                  <a:pt x="0" y="504"/>
                </a:lnTo>
                <a:lnTo>
                  <a:pt x="0" y="216"/>
                </a:lnTo>
                <a:lnTo>
                  <a:pt x="144" y="288"/>
                </a:lnTo>
                <a:lnTo>
                  <a:pt x="720" y="0"/>
                </a:lnTo>
                <a:lnTo>
                  <a:pt x="1008" y="144"/>
                </a:lnTo>
                <a:lnTo>
                  <a:pt x="432" y="432"/>
                </a:lnTo>
                <a:close/>
              </a:path>
            </a:pathLst>
          </a:custGeom>
          <a:gradFill rotWithShape="1">
            <a:gsLst>
              <a:gs pos="0">
                <a:schemeClr val="bg2">
                  <a:gamma/>
                  <a:tint val="0"/>
                  <a:invGamma/>
                  <a:alpha val="0"/>
                </a:schemeClr>
              </a:gs>
              <a:gs pos="100000">
                <a:schemeClr val="bg2"/>
              </a:gs>
            </a:gsLst>
            <a:lin ang="5400000" scaled="1"/>
          </a:gradFill>
          <a:ln w="1270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88" name="Freeform 43"/>
          <p:cNvSpPr>
            <a:spLocks/>
          </p:cNvSpPr>
          <p:nvPr/>
        </p:nvSpPr>
        <p:spPr bwMode="auto">
          <a:xfrm>
            <a:off x="3346454" y="5177106"/>
            <a:ext cx="871538" cy="436562"/>
          </a:xfrm>
          <a:custGeom>
            <a:avLst/>
            <a:gdLst/>
            <a:ahLst/>
            <a:cxnLst>
              <a:cxn ang="0">
                <a:pos x="432" y="72"/>
              </a:cxn>
              <a:cxn ang="0">
                <a:pos x="576" y="0"/>
              </a:cxn>
              <a:cxn ang="0">
                <a:pos x="0" y="0"/>
              </a:cxn>
              <a:cxn ang="0">
                <a:pos x="0" y="288"/>
              </a:cxn>
              <a:cxn ang="0">
                <a:pos x="144" y="216"/>
              </a:cxn>
              <a:cxn ang="0">
                <a:pos x="720" y="504"/>
              </a:cxn>
              <a:cxn ang="0">
                <a:pos x="1008" y="360"/>
              </a:cxn>
              <a:cxn ang="0">
                <a:pos x="432" y="72"/>
              </a:cxn>
            </a:cxnLst>
            <a:rect l="0" t="0" r="r" b="b"/>
            <a:pathLst>
              <a:path w="1008" h="504">
                <a:moveTo>
                  <a:pt x="432" y="72"/>
                </a:moveTo>
                <a:lnTo>
                  <a:pt x="576" y="0"/>
                </a:lnTo>
                <a:lnTo>
                  <a:pt x="0" y="0"/>
                </a:lnTo>
                <a:lnTo>
                  <a:pt x="0" y="288"/>
                </a:lnTo>
                <a:lnTo>
                  <a:pt x="144" y="216"/>
                </a:lnTo>
                <a:lnTo>
                  <a:pt x="720" y="504"/>
                </a:lnTo>
                <a:lnTo>
                  <a:pt x="1008" y="360"/>
                </a:lnTo>
                <a:lnTo>
                  <a:pt x="432" y="72"/>
                </a:lnTo>
                <a:close/>
              </a:path>
            </a:pathLst>
          </a:custGeom>
          <a:gradFill rotWithShape="1">
            <a:gsLst>
              <a:gs pos="0">
                <a:schemeClr val="tx1">
                  <a:alpha val="25000"/>
                </a:schemeClr>
              </a:gs>
              <a:gs pos="100000">
                <a:schemeClr val="tx1">
                  <a:gamma/>
                  <a:tint val="0"/>
                  <a:invGamma/>
                  <a:alpha val="0"/>
                </a:schemeClr>
              </a:gs>
            </a:gsLst>
            <a:lin ang="5400000" scaled="1"/>
          </a:gra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89" name="Freeform 44"/>
          <p:cNvSpPr>
            <a:spLocks/>
          </p:cNvSpPr>
          <p:nvPr/>
        </p:nvSpPr>
        <p:spPr bwMode="auto">
          <a:xfrm>
            <a:off x="4065592" y="4816743"/>
            <a:ext cx="871538" cy="436562"/>
          </a:xfrm>
          <a:custGeom>
            <a:avLst/>
            <a:gdLst/>
            <a:ahLst/>
            <a:cxnLst>
              <a:cxn ang="0">
                <a:pos x="432" y="72"/>
              </a:cxn>
              <a:cxn ang="0">
                <a:pos x="576" y="0"/>
              </a:cxn>
              <a:cxn ang="0">
                <a:pos x="0" y="0"/>
              </a:cxn>
              <a:cxn ang="0">
                <a:pos x="0" y="288"/>
              </a:cxn>
              <a:cxn ang="0">
                <a:pos x="144" y="216"/>
              </a:cxn>
              <a:cxn ang="0">
                <a:pos x="720" y="504"/>
              </a:cxn>
              <a:cxn ang="0">
                <a:pos x="1008" y="360"/>
              </a:cxn>
              <a:cxn ang="0">
                <a:pos x="432" y="72"/>
              </a:cxn>
            </a:cxnLst>
            <a:rect l="0" t="0" r="r" b="b"/>
            <a:pathLst>
              <a:path w="1008" h="504">
                <a:moveTo>
                  <a:pt x="432" y="72"/>
                </a:moveTo>
                <a:lnTo>
                  <a:pt x="576" y="0"/>
                </a:lnTo>
                <a:lnTo>
                  <a:pt x="0" y="0"/>
                </a:lnTo>
                <a:lnTo>
                  <a:pt x="0" y="288"/>
                </a:lnTo>
                <a:lnTo>
                  <a:pt x="144" y="216"/>
                </a:lnTo>
                <a:lnTo>
                  <a:pt x="720" y="504"/>
                </a:lnTo>
                <a:lnTo>
                  <a:pt x="1008" y="360"/>
                </a:lnTo>
                <a:lnTo>
                  <a:pt x="432" y="72"/>
                </a:lnTo>
                <a:close/>
              </a:path>
            </a:pathLst>
          </a:custGeom>
          <a:gradFill rotWithShape="1">
            <a:gsLst>
              <a:gs pos="0">
                <a:schemeClr val="tx1">
                  <a:alpha val="25000"/>
                </a:schemeClr>
              </a:gs>
              <a:gs pos="100000">
                <a:schemeClr val="tx1">
                  <a:gamma/>
                  <a:tint val="0"/>
                  <a:invGamma/>
                  <a:alpha val="0"/>
                </a:scheme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90" name="Freeform 45"/>
          <p:cNvSpPr>
            <a:spLocks/>
          </p:cNvSpPr>
          <p:nvPr/>
        </p:nvSpPr>
        <p:spPr bwMode="auto">
          <a:xfrm>
            <a:off x="6953256" y="3332431"/>
            <a:ext cx="871538" cy="436562"/>
          </a:xfrm>
          <a:custGeom>
            <a:avLst/>
            <a:gdLst/>
            <a:ahLst/>
            <a:cxnLst>
              <a:cxn ang="0">
                <a:pos x="432" y="72"/>
              </a:cxn>
              <a:cxn ang="0">
                <a:pos x="576" y="0"/>
              </a:cxn>
              <a:cxn ang="0">
                <a:pos x="0" y="0"/>
              </a:cxn>
              <a:cxn ang="0">
                <a:pos x="0" y="288"/>
              </a:cxn>
              <a:cxn ang="0">
                <a:pos x="144" y="216"/>
              </a:cxn>
              <a:cxn ang="0">
                <a:pos x="720" y="504"/>
              </a:cxn>
              <a:cxn ang="0">
                <a:pos x="1008" y="360"/>
              </a:cxn>
              <a:cxn ang="0">
                <a:pos x="432" y="72"/>
              </a:cxn>
            </a:cxnLst>
            <a:rect l="0" t="0" r="r" b="b"/>
            <a:pathLst>
              <a:path w="1008" h="504">
                <a:moveTo>
                  <a:pt x="432" y="72"/>
                </a:moveTo>
                <a:lnTo>
                  <a:pt x="576" y="0"/>
                </a:lnTo>
                <a:lnTo>
                  <a:pt x="0" y="0"/>
                </a:lnTo>
                <a:lnTo>
                  <a:pt x="0" y="288"/>
                </a:lnTo>
                <a:lnTo>
                  <a:pt x="144" y="216"/>
                </a:lnTo>
                <a:lnTo>
                  <a:pt x="720" y="504"/>
                </a:lnTo>
                <a:lnTo>
                  <a:pt x="1008" y="360"/>
                </a:lnTo>
                <a:lnTo>
                  <a:pt x="432" y="72"/>
                </a:lnTo>
                <a:close/>
              </a:path>
            </a:pathLst>
          </a:custGeom>
          <a:gradFill rotWithShape="1">
            <a:gsLst>
              <a:gs pos="0">
                <a:schemeClr val="tx1">
                  <a:alpha val="25000"/>
                </a:schemeClr>
              </a:gs>
              <a:gs pos="100000">
                <a:schemeClr val="tx1">
                  <a:gamma/>
                  <a:tint val="0"/>
                  <a:invGamma/>
                  <a:alpha val="0"/>
                </a:scheme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91" name="Freeform 46"/>
          <p:cNvSpPr>
            <a:spLocks/>
          </p:cNvSpPr>
          <p:nvPr/>
        </p:nvSpPr>
        <p:spPr bwMode="auto">
          <a:xfrm>
            <a:off x="5507043" y="4097606"/>
            <a:ext cx="871538" cy="436562"/>
          </a:xfrm>
          <a:custGeom>
            <a:avLst/>
            <a:gdLst/>
            <a:ahLst/>
            <a:cxnLst>
              <a:cxn ang="0">
                <a:pos x="432" y="72"/>
              </a:cxn>
              <a:cxn ang="0">
                <a:pos x="576" y="0"/>
              </a:cxn>
              <a:cxn ang="0">
                <a:pos x="0" y="0"/>
              </a:cxn>
              <a:cxn ang="0">
                <a:pos x="0" y="288"/>
              </a:cxn>
              <a:cxn ang="0">
                <a:pos x="144" y="216"/>
              </a:cxn>
              <a:cxn ang="0">
                <a:pos x="720" y="504"/>
              </a:cxn>
              <a:cxn ang="0">
                <a:pos x="1008" y="360"/>
              </a:cxn>
              <a:cxn ang="0">
                <a:pos x="432" y="72"/>
              </a:cxn>
            </a:cxnLst>
            <a:rect l="0" t="0" r="r" b="b"/>
            <a:pathLst>
              <a:path w="1008" h="504">
                <a:moveTo>
                  <a:pt x="432" y="72"/>
                </a:moveTo>
                <a:lnTo>
                  <a:pt x="576" y="0"/>
                </a:lnTo>
                <a:lnTo>
                  <a:pt x="0" y="0"/>
                </a:lnTo>
                <a:lnTo>
                  <a:pt x="0" y="288"/>
                </a:lnTo>
                <a:lnTo>
                  <a:pt x="144" y="216"/>
                </a:lnTo>
                <a:lnTo>
                  <a:pt x="720" y="504"/>
                </a:lnTo>
                <a:lnTo>
                  <a:pt x="1008" y="360"/>
                </a:lnTo>
                <a:lnTo>
                  <a:pt x="432" y="72"/>
                </a:lnTo>
                <a:close/>
              </a:path>
            </a:pathLst>
          </a:custGeom>
          <a:gradFill rotWithShape="1">
            <a:gsLst>
              <a:gs pos="0">
                <a:schemeClr val="tx1">
                  <a:alpha val="25000"/>
                </a:schemeClr>
              </a:gs>
              <a:gs pos="100000">
                <a:schemeClr val="tx1">
                  <a:gamma/>
                  <a:tint val="0"/>
                  <a:invGamma/>
                  <a:alpha val="0"/>
                </a:scheme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92" name="Freeform 47"/>
          <p:cNvSpPr>
            <a:spLocks/>
          </p:cNvSpPr>
          <p:nvPr/>
        </p:nvSpPr>
        <p:spPr bwMode="auto">
          <a:xfrm>
            <a:off x="6226181" y="3737243"/>
            <a:ext cx="871538" cy="436562"/>
          </a:xfrm>
          <a:custGeom>
            <a:avLst/>
            <a:gdLst/>
            <a:ahLst/>
            <a:cxnLst>
              <a:cxn ang="0">
                <a:pos x="432" y="72"/>
              </a:cxn>
              <a:cxn ang="0">
                <a:pos x="576" y="0"/>
              </a:cxn>
              <a:cxn ang="0">
                <a:pos x="0" y="0"/>
              </a:cxn>
              <a:cxn ang="0">
                <a:pos x="0" y="288"/>
              </a:cxn>
              <a:cxn ang="0">
                <a:pos x="144" y="216"/>
              </a:cxn>
              <a:cxn ang="0">
                <a:pos x="720" y="504"/>
              </a:cxn>
              <a:cxn ang="0">
                <a:pos x="1008" y="360"/>
              </a:cxn>
              <a:cxn ang="0">
                <a:pos x="432" y="72"/>
              </a:cxn>
            </a:cxnLst>
            <a:rect l="0" t="0" r="r" b="b"/>
            <a:pathLst>
              <a:path w="1008" h="504">
                <a:moveTo>
                  <a:pt x="432" y="72"/>
                </a:moveTo>
                <a:lnTo>
                  <a:pt x="576" y="0"/>
                </a:lnTo>
                <a:lnTo>
                  <a:pt x="0" y="0"/>
                </a:lnTo>
                <a:lnTo>
                  <a:pt x="0" y="288"/>
                </a:lnTo>
                <a:lnTo>
                  <a:pt x="144" y="216"/>
                </a:lnTo>
                <a:lnTo>
                  <a:pt x="720" y="504"/>
                </a:lnTo>
                <a:lnTo>
                  <a:pt x="1008" y="360"/>
                </a:lnTo>
                <a:lnTo>
                  <a:pt x="432" y="72"/>
                </a:lnTo>
                <a:close/>
              </a:path>
            </a:pathLst>
          </a:custGeom>
          <a:gradFill rotWithShape="1">
            <a:gsLst>
              <a:gs pos="0">
                <a:schemeClr val="tx1">
                  <a:alpha val="25000"/>
                </a:schemeClr>
              </a:gs>
              <a:gs pos="100000">
                <a:schemeClr val="tx1">
                  <a:gamma/>
                  <a:tint val="0"/>
                  <a:invGamma/>
                  <a:alpha val="0"/>
                </a:scheme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94" name="Freeform 49"/>
          <p:cNvSpPr>
            <a:spLocks/>
          </p:cNvSpPr>
          <p:nvPr/>
        </p:nvSpPr>
        <p:spPr bwMode="auto">
          <a:xfrm>
            <a:off x="7667632" y="3016518"/>
            <a:ext cx="871538" cy="436562"/>
          </a:xfrm>
          <a:custGeom>
            <a:avLst/>
            <a:gdLst/>
            <a:ahLst/>
            <a:cxnLst>
              <a:cxn ang="0">
                <a:pos x="432" y="72"/>
              </a:cxn>
              <a:cxn ang="0">
                <a:pos x="576" y="0"/>
              </a:cxn>
              <a:cxn ang="0">
                <a:pos x="0" y="0"/>
              </a:cxn>
              <a:cxn ang="0">
                <a:pos x="0" y="288"/>
              </a:cxn>
              <a:cxn ang="0">
                <a:pos x="144" y="216"/>
              </a:cxn>
              <a:cxn ang="0">
                <a:pos x="720" y="504"/>
              </a:cxn>
              <a:cxn ang="0">
                <a:pos x="1008" y="360"/>
              </a:cxn>
              <a:cxn ang="0">
                <a:pos x="432" y="72"/>
              </a:cxn>
            </a:cxnLst>
            <a:rect l="0" t="0" r="r" b="b"/>
            <a:pathLst>
              <a:path w="1008" h="504">
                <a:moveTo>
                  <a:pt x="432" y="72"/>
                </a:moveTo>
                <a:lnTo>
                  <a:pt x="576" y="0"/>
                </a:lnTo>
                <a:lnTo>
                  <a:pt x="0" y="0"/>
                </a:lnTo>
                <a:lnTo>
                  <a:pt x="0" y="288"/>
                </a:lnTo>
                <a:lnTo>
                  <a:pt x="144" y="216"/>
                </a:lnTo>
                <a:lnTo>
                  <a:pt x="720" y="504"/>
                </a:lnTo>
                <a:lnTo>
                  <a:pt x="1008" y="360"/>
                </a:lnTo>
                <a:lnTo>
                  <a:pt x="432" y="72"/>
                </a:lnTo>
                <a:close/>
              </a:path>
            </a:pathLst>
          </a:custGeom>
          <a:gradFill rotWithShape="1">
            <a:gsLst>
              <a:gs pos="0">
                <a:schemeClr val="tx1">
                  <a:alpha val="25000"/>
                </a:schemeClr>
              </a:gs>
              <a:gs pos="100000">
                <a:schemeClr val="tx1">
                  <a:gamma/>
                  <a:tint val="0"/>
                  <a:invGamma/>
                  <a:alpha val="0"/>
                </a:scheme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95" name="Text Box 50"/>
          <p:cNvSpPr txBox="1">
            <a:spLocks noChangeArrowheads="1"/>
          </p:cNvSpPr>
          <p:nvPr/>
        </p:nvSpPr>
        <p:spPr bwMode="auto">
          <a:xfrm rot="1800000">
            <a:off x="3875092" y="5783531"/>
            <a:ext cx="1838326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/>
            <a:r>
              <a:rPr lang="en-US" altLang="ko-KR" sz="1200" dirty="0" smtClean="0">
                <a:latin typeface="Arial Black" pitchFamily="34" charset="0"/>
              </a:rPr>
              <a:t>OK du Management</a:t>
            </a:r>
            <a:endParaRPr lang="en-US" altLang="ko-KR" sz="1200" dirty="0">
              <a:latin typeface="Arial Black" pitchFamily="34" charset="0"/>
            </a:endParaRPr>
          </a:p>
        </p:txBody>
      </p:sp>
      <p:sp>
        <p:nvSpPr>
          <p:cNvPr id="96" name="Text Box 51"/>
          <p:cNvSpPr txBox="1">
            <a:spLocks noChangeArrowheads="1"/>
          </p:cNvSpPr>
          <p:nvPr/>
        </p:nvSpPr>
        <p:spPr bwMode="auto">
          <a:xfrm rot="1800000">
            <a:off x="2684466" y="5764481"/>
            <a:ext cx="12747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/>
            <a:r>
              <a:rPr lang="fr-FR" altLang="ko-KR" sz="1200" dirty="0" smtClean="0">
                <a:latin typeface="Arial Black" pitchFamily="34" charset="0"/>
              </a:rPr>
              <a:t>Mise</a:t>
            </a:r>
            <a:r>
              <a:rPr lang="en-US" altLang="ko-KR" sz="1200" dirty="0" smtClean="0">
                <a:latin typeface="Arial Black" pitchFamily="34" charset="0"/>
              </a:rPr>
              <a:t> en Prod</a:t>
            </a:r>
            <a:endParaRPr lang="en-US" altLang="ko-KR" sz="1200" dirty="0">
              <a:latin typeface="Arial Black" pitchFamily="34" charset="0"/>
            </a:endParaRPr>
          </a:p>
        </p:txBody>
      </p:sp>
      <p:sp>
        <p:nvSpPr>
          <p:cNvPr id="98" name="Text Box 53"/>
          <p:cNvSpPr txBox="1">
            <a:spLocks noChangeArrowheads="1"/>
          </p:cNvSpPr>
          <p:nvPr/>
        </p:nvSpPr>
        <p:spPr bwMode="auto">
          <a:xfrm rot="1800000">
            <a:off x="4394205" y="5264418"/>
            <a:ext cx="15636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/>
            <a:r>
              <a:rPr lang="en-US" altLang="ko-KR" sz="1200" dirty="0" err="1" smtClean="0">
                <a:latin typeface="Arial Black" pitchFamily="34" charset="0"/>
              </a:rPr>
              <a:t>Choix</a:t>
            </a:r>
            <a:r>
              <a:rPr lang="en-US" altLang="ko-KR" sz="1200" dirty="0" smtClean="0">
                <a:latin typeface="Arial Black" pitchFamily="34" charset="0"/>
              </a:rPr>
              <a:t> des </a:t>
            </a:r>
            <a:r>
              <a:rPr lang="en-US" altLang="ko-KR" sz="1200" dirty="0" err="1" smtClean="0">
                <a:latin typeface="Arial Black" pitchFamily="34" charset="0"/>
              </a:rPr>
              <a:t>Outils</a:t>
            </a:r>
            <a:endParaRPr lang="en-US" altLang="ko-KR" sz="1200" dirty="0">
              <a:latin typeface="Arial Black" pitchFamily="34" charset="0"/>
            </a:endParaRPr>
          </a:p>
        </p:txBody>
      </p:sp>
      <p:sp>
        <p:nvSpPr>
          <p:cNvPr id="99" name="Text Box 54"/>
          <p:cNvSpPr txBox="1">
            <a:spLocks noChangeArrowheads="1"/>
          </p:cNvSpPr>
          <p:nvPr/>
        </p:nvSpPr>
        <p:spPr bwMode="auto">
          <a:xfrm rot="1800000">
            <a:off x="5639301" y="4489687"/>
            <a:ext cx="15077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/>
            <a:r>
              <a:rPr lang="en-US" altLang="ko-KR" sz="1200" dirty="0" smtClean="0">
                <a:latin typeface="Arial Black" pitchFamily="34" charset="0"/>
              </a:rPr>
              <a:t>Implementation</a:t>
            </a:r>
            <a:endParaRPr lang="en-US" altLang="ko-KR" sz="1200" dirty="0">
              <a:latin typeface="Arial Black" pitchFamily="34" charset="0"/>
            </a:endParaRPr>
          </a:p>
        </p:txBody>
      </p:sp>
      <p:sp>
        <p:nvSpPr>
          <p:cNvPr id="100" name="Text Box 55"/>
          <p:cNvSpPr txBox="1">
            <a:spLocks noChangeArrowheads="1"/>
          </p:cNvSpPr>
          <p:nvPr/>
        </p:nvSpPr>
        <p:spPr bwMode="auto">
          <a:xfrm rot="1800000">
            <a:off x="7142169" y="3813443"/>
            <a:ext cx="1763714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/>
            <a:r>
              <a:rPr lang="en-US" altLang="ko-KR" sz="1200" dirty="0" smtClean="0">
                <a:latin typeface="Arial Black" pitchFamily="34" charset="0"/>
              </a:rPr>
              <a:t>Etude de </a:t>
            </a:r>
            <a:r>
              <a:rPr lang="en-US" altLang="ko-KR" sz="1200" dirty="0" err="1" smtClean="0">
                <a:latin typeface="Arial Black" pitchFamily="34" charset="0"/>
              </a:rPr>
              <a:t>l’éxistant</a:t>
            </a:r>
            <a:endParaRPr lang="en-US" altLang="ko-KR" sz="1200" dirty="0">
              <a:latin typeface="Arial Black" pitchFamily="34" charset="0"/>
            </a:endParaRPr>
          </a:p>
        </p:txBody>
      </p:sp>
      <p:sp>
        <p:nvSpPr>
          <p:cNvPr id="101" name="Text Box 56"/>
          <p:cNvSpPr txBox="1">
            <a:spLocks noChangeArrowheads="1"/>
          </p:cNvSpPr>
          <p:nvPr/>
        </p:nvSpPr>
        <p:spPr bwMode="auto">
          <a:xfrm rot="1800000">
            <a:off x="6350658" y="4373333"/>
            <a:ext cx="233269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/>
            <a:r>
              <a:rPr lang="en-US" altLang="ko-KR" sz="1200" dirty="0" smtClean="0">
                <a:latin typeface="Arial Black" pitchFamily="34" charset="0"/>
              </a:rPr>
              <a:t>Conception de la solution</a:t>
            </a:r>
            <a:endParaRPr lang="en-US" altLang="ko-KR" sz="1200" dirty="0">
              <a:latin typeface="Arial Black" pitchFamily="34" charset="0"/>
            </a:endParaRPr>
          </a:p>
        </p:txBody>
      </p:sp>
      <p:sp>
        <p:nvSpPr>
          <p:cNvPr id="102" name="Text Box 57"/>
          <p:cNvSpPr txBox="1">
            <a:spLocks noChangeArrowheads="1"/>
          </p:cNvSpPr>
          <p:nvPr/>
        </p:nvSpPr>
        <p:spPr bwMode="auto">
          <a:xfrm rot="1800000">
            <a:off x="7785856" y="3293944"/>
            <a:ext cx="122405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/>
            <a:r>
              <a:rPr lang="en-US" altLang="ko-KR" sz="1200" dirty="0" smtClean="0">
                <a:latin typeface="Arial Black" pitchFamily="34" charset="0"/>
              </a:rPr>
              <a:t>On </a:t>
            </a:r>
            <a:r>
              <a:rPr lang="en-US" altLang="ko-KR" sz="1200" dirty="0" smtClean="0">
                <a:latin typeface="Arial Black" pitchFamily="34" charset="0"/>
              </a:rPr>
              <a:t>Boarding</a:t>
            </a:r>
            <a:endParaRPr lang="en-US" altLang="ko-KR" sz="1200" dirty="0">
              <a:latin typeface="Arial Black" pitchFamily="34" charset="0"/>
            </a:endParaRPr>
          </a:p>
        </p:txBody>
      </p:sp>
      <p:sp>
        <p:nvSpPr>
          <p:cNvPr id="134" name="Freeform 15"/>
          <p:cNvSpPr>
            <a:spLocks/>
          </p:cNvSpPr>
          <p:nvPr/>
        </p:nvSpPr>
        <p:spPr bwMode="auto">
          <a:xfrm>
            <a:off x="4556317" y="2676807"/>
            <a:ext cx="228600" cy="1714500"/>
          </a:xfrm>
          <a:custGeom>
            <a:avLst/>
            <a:gdLst/>
            <a:ahLst/>
            <a:cxnLst>
              <a:cxn ang="0">
                <a:pos x="0" y="72"/>
              </a:cxn>
              <a:cxn ang="0">
                <a:pos x="144" y="0"/>
              </a:cxn>
              <a:cxn ang="0">
                <a:pos x="144" y="1008"/>
              </a:cxn>
              <a:cxn ang="0">
                <a:pos x="0" y="1080"/>
              </a:cxn>
              <a:cxn ang="0">
                <a:pos x="0" y="72"/>
              </a:cxn>
            </a:cxnLst>
            <a:rect l="0" t="0" r="r" b="b"/>
            <a:pathLst>
              <a:path w="144" h="1080">
                <a:moveTo>
                  <a:pt x="0" y="72"/>
                </a:moveTo>
                <a:lnTo>
                  <a:pt x="144" y="0"/>
                </a:lnTo>
                <a:lnTo>
                  <a:pt x="144" y="1008"/>
                </a:lnTo>
                <a:lnTo>
                  <a:pt x="0" y="1080"/>
                </a:lnTo>
                <a:lnTo>
                  <a:pt x="0" y="72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0000">
                <a:srgbClr val="0099FF">
                  <a:shade val="67500"/>
                  <a:satMod val="115000"/>
                </a:srgbClr>
              </a:gs>
              <a:gs pos="100000">
                <a:srgbClr val="0099FF">
                  <a:shade val="100000"/>
                  <a:satMod val="115000"/>
                </a:srgbClr>
              </a:gs>
            </a:gsLst>
            <a:lin ang="270000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35" name="Freeform 16"/>
          <p:cNvSpPr>
            <a:spLocks/>
          </p:cNvSpPr>
          <p:nvPr/>
        </p:nvSpPr>
        <p:spPr bwMode="auto">
          <a:xfrm>
            <a:off x="3643338" y="2218651"/>
            <a:ext cx="1143000" cy="571500"/>
          </a:xfrm>
          <a:custGeom>
            <a:avLst/>
            <a:gdLst/>
            <a:ahLst/>
            <a:cxnLst>
              <a:cxn ang="0">
                <a:pos x="720" y="288"/>
              </a:cxn>
              <a:cxn ang="0">
                <a:pos x="144" y="0"/>
              </a:cxn>
              <a:cxn ang="0">
                <a:pos x="0" y="72"/>
              </a:cxn>
              <a:cxn ang="0">
                <a:pos x="576" y="360"/>
              </a:cxn>
              <a:cxn ang="0">
                <a:pos x="720" y="288"/>
              </a:cxn>
            </a:cxnLst>
            <a:rect l="0" t="0" r="r" b="b"/>
            <a:pathLst>
              <a:path w="720" h="360">
                <a:moveTo>
                  <a:pt x="720" y="288"/>
                </a:moveTo>
                <a:lnTo>
                  <a:pt x="144" y="0"/>
                </a:lnTo>
                <a:lnTo>
                  <a:pt x="0" y="72"/>
                </a:lnTo>
                <a:lnTo>
                  <a:pt x="576" y="360"/>
                </a:lnTo>
                <a:lnTo>
                  <a:pt x="720" y="288"/>
                </a:lnTo>
                <a:close/>
              </a:path>
            </a:pathLst>
          </a:custGeom>
          <a:gradFill rotWithShape="1">
            <a:gsLst>
              <a:gs pos="0">
                <a:srgbClr val="00C8FF"/>
              </a:gs>
              <a:gs pos="100000">
                <a:srgbClr val="00C8FF">
                  <a:gamma/>
                  <a:tint val="0"/>
                  <a:invGamma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36" name="Freeform 20"/>
          <p:cNvSpPr>
            <a:spLocks/>
          </p:cNvSpPr>
          <p:nvPr/>
        </p:nvSpPr>
        <p:spPr bwMode="auto">
          <a:xfrm>
            <a:off x="5802519" y="1149878"/>
            <a:ext cx="1143000" cy="571500"/>
          </a:xfrm>
          <a:custGeom>
            <a:avLst/>
            <a:gdLst/>
            <a:ahLst/>
            <a:cxnLst>
              <a:cxn ang="0">
                <a:pos x="720" y="288"/>
              </a:cxn>
              <a:cxn ang="0">
                <a:pos x="144" y="0"/>
              </a:cxn>
              <a:cxn ang="0">
                <a:pos x="0" y="72"/>
              </a:cxn>
              <a:cxn ang="0">
                <a:pos x="576" y="360"/>
              </a:cxn>
              <a:cxn ang="0">
                <a:pos x="720" y="288"/>
              </a:cxn>
            </a:cxnLst>
            <a:rect l="0" t="0" r="r" b="b"/>
            <a:pathLst>
              <a:path w="720" h="360">
                <a:moveTo>
                  <a:pt x="720" y="288"/>
                </a:moveTo>
                <a:lnTo>
                  <a:pt x="144" y="0"/>
                </a:lnTo>
                <a:lnTo>
                  <a:pt x="0" y="72"/>
                </a:lnTo>
                <a:lnTo>
                  <a:pt x="576" y="360"/>
                </a:lnTo>
                <a:lnTo>
                  <a:pt x="720" y="288"/>
                </a:lnTo>
                <a:close/>
              </a:path>
            </a:pathLst>
          </a:custGeom>
          <a:solidFill>
            <a:srgbClr val="EAEAEA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fr-FR"/>
          </a:p>
        </p:txBody>
      </p:sp>
      <p:sp>
        <p:nvSpPr>
          <p:cNvPr id="137" name="Freeform 48"/>
          <p:cNvSpPr>
            <a:spLocks/>
          </p:cNvSpPr>
          <p:nvPr/>
        </p:nvSpPr>
        <p:spPr bwMode="auto">
          <a:xfrm>
            <a:off x="4786346" y="4462757"/>
            <a:ext cx="871538" cy="436562"/>
          </a:xfrm>
          <a:custGeom>
            <a:avLst/>
            <a:gdLst/>
            <a:ahLst/>
            <a:cxnLst>
              <a:cxn ang="0">
                <a:pos x="432" y="72"/>
              </a:cxn>
              <a:cxn ang="0">
                <a:pos x="576" y="0"/>
              </a:cxn>
              <a:cxn ang="0">
                <a:pos x="0" y="0"/>
              </a:cxn>
              <a:cxn ang="0">
                <a:pos x="0" y="288"/>
              </a:cxn>
              <a:cxn ang="0">
                <a:pos x="144" y="216"/>
              </a:cxn>
              <a:cxn ang="0">
                <a:pos x="720" y="504"/>
              </a:cxn>
              <a:cxn ang="0">
                <a:pos x="1008" y="360"/>
              </a:cxn>
              <a:cxn ang="0">
                <a:pos x="432" y="72"/>
              </a:cxn>
            </a:cxnLst>
            <a:rect l="0" t="0" r="r" b="b"/>
            <a:pathLst>
              <a:path w="1008" h="504">
                <a:moveTo>
                  <a:pt x="432" y="72"/>
                </a:moveTo>
                <a:lnTo>
                  <a:pt x="576" y="0"/>
                </a:lnTo>
                <a:lnTo>
                  <a:pt x="0" y="0"/>
                </a:lnTo>
                <a:lnTo>
                  <a:pt x="0" y="288"/>
                </a:lnTo>
                <a:lnTo>
                  <a:pt x="144" y="216"/>
                </a:lnTo>
                <a:lnTo>
                  <a:pt x="720" y="504"/>
                </a:lnTo>
                <a:lnTo>
                  <a:pt x="1008" y="360"/>
                </a:lnTo>
                <a:lnTo>
                  <a:pt x="432" y="72"/>
                </a:lnTo>
                <a:close/>
              </a:path>
            </a:pathLst>
          </a:custGeom>
          <a:gradFill rotWithShape="1">
            <a:gsLst>
              <a:gs pos="0">
                <a:srgbClr val="00C8FF"/>
              </a:gs>
              <a:gs pos="100000">
                <a:srgbClr val="00C8FF">
                  <a:gamma/>
                  <a:tint val="0"/>
                  <a:invGamma/>
                  <a:alpha val="0"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fr-FR"/>
          </a:p>
        </p:txBody>
      </p:sp>
      <p:sp>
        <p:nvSpPr>
          <p:cNvPr id="139" name="Titre 138"/>
          <p:cNvSpPr>
            <a:spLocks noGrp="1"/>
          </p:cNvSpPr>
          <p:nvPr>
            <p:ph type="title"/>
          </p:nvPr>
        </p:nvSpPr>
        <p:spPr>
          <a:xfrm>
            <a:off x="-95216" y="-1"/>
            <a:ext cx="9906000" cy="721559"/>
          </a:xfrm>
        </p:spPr>
        <p:txBody>
          <a:bodyPr tIns="0" bIns="0"/>
          <a:lstStyle/>
          <a:p>
            <a:r>
              <a:rPr lang="fr-FR" dirty="0" smtClean="0"/>
              <a:t>Bilan &amp; Perspective</a:t>
            </a:r>
            <a:endParaRPr lang="fr-FR" dirty="0"/>
          </a:p>
        </p:txBody>
      </p:sp>
      <p:sp>
        <p:nvSpPr>
          <p:cNvPr id="141" name="Chevron 140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42" name="Chevron 141"/>
          <p:cNvSpPr/>
          <p:nvPr/>
        </p:nvSpPr>
        <p:spPr>
          <a:xfrm rot="10800000">
            <a:off x="9529604" y="3712765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45" name="Rectangle 144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146" name="Rectangle 145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grpSp>
        <p:nvGrpSpPr>
          <p:cNvPr id="73" name="Groupe 72"/>
          <p:cNvGrpSpPr/>
          <p:nvPr/>
        </p:nvGrpSpPr>
        <p:grpSpPr>
          <a:xfrm>
            <a:off x="9540512" y="4214820"/>
            <a:ext cx="2042506" cy="430616"/>
            <a:chOff x="9540512" y="4214820"/>
            <a:chExt cx="2042506" cy="430616"/>
          </a:xfrm>
        </p:grpSpPr>
        <p:sp>
          <p:nvSpPr>
            <p:cNvPr id="143" name="Chevron 142"/>
            <p:cNvSpPr/>
            <p:nvPr/>
          </p:nvSpPr>
          <p:spPr>
            <a:xfrm rot="10800000">
              <a:off x="9540512" y="4214820"/>
              <a:ext cx="2042506" cy="430616"/>
            </a:xfrm>
            <a:prstGeom prst="chevron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sp>
          <p:nvSpPr>
            <p:cNvPr id="147" name="Rectangle 146"/>
            <p:cNvSpPr/>
            <p:nvPr/>
          </p:nvSpPr>
          <p:spPr>
            <a:xfrm>
              <a:off x="9600200" y="4244635"/>
              <a:ext cx="96693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/>
                <a:t>7- Bilan</a:t>
              </a:r>
              <a:endParaRPr lang="fr-FR" dirty="0"/>
            </a:p>
          </p:txBody>
        </p:sp>
      </p:grpSp>
      <p:sp>
        <p:nvSpPr>
          <p:cNvPr id="149" name="Chevron 148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50" name="Rectangle 149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151" name="Chevron 150"/>
          <p:cNvSpPr/>
          <p:nvPr/>
        </p:nvSpPr>
        <p:spPr>
          <a:xfrm rot="10800000">
            <a:off x="9534176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52" name="Chevron 151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53" name="Rectangle 152"/>
          <p:cNvSpPr/>
          <p:nvPr/>
        </p:nvSpPr>
        <p:spPr>
          <a:xfrm>
            <a:off x="9595628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155" name="Chevron 15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56" name="Rectangle 15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  <p:sp>
        <p:nvSpPr>
          <p:cNvPr id="97" name="Text Box 52"/>
          <p:cNvSpPr txBox="1">
            <a:spLocks noChangeArrowheads="1"/>
          </p:cNvSpPr>
          <p:nvPr/>
        </p:nvSpPr>
        <p:spPr bwMode="auto">
          <a:xfrm rot="1800000">
            <a:off x="4787905" y="5194568"/>
            <a:ext cx="313690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/>
            <a:r>
              <a:rPr lang="en-US" altLang="ko-KR" sz="1200" dirty="0" err="1" smtClean="0">
                <a:latin typeface="Arial Black" pitchFamily="34" charset="0"/>
              </a:rPr>
              <a:t>Actuel</a:t>
            </a:r>
            <a:r>
              <a:rPr lang="en-US" altLang="ko-KR" sz="1200" dirty="0" smtClean="0">
                <a:latin typeface="Arial Black" pitchFamily="34" charset="0"/>
              </a:rPr>
              <a:t> </a:t>
            </a:r>
            <a:r>
              <a:rPr lang="en-US" altLang="ko-KR" sz="1200" dirty="0" smtClean="0">
                <a:latin typeface="Arial Black" pitchFamily="34" charset="0"/>
                <a:sym typeface="Wingdings" pitchFamily="2" charset="2"/>
              </a:rPr>
              <a:t> Proposition de la solution</a:t>
            </a:r>
            <a:endParaRPr lang="en-US" altLang="ko-KR" sz="1200" dirty="0"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6663E-6 -3.33333E-6 L -0.06622 0.0011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ZoneTexte 13"/>
          <p:cNvSpPr txBox="1"/>
          <p:nvPr/>
        </p:nvSpPr>
        <p:spPr>
          <a:xfrm>
            <a:off x="0" y="2786058"/>
            <a:ext cx="104537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 smtClean="0">
                <a:solidFill>
                  <a:srgbClr val="3399FF"/>
                </a:solidFill>
                <a:latin typeface="Cooper Black" pitchFamily="18" charset="0"/>
              </a:rPr>
              <a:t>……………………………………………..</a:t>
            </a:r>
            <a:endParaRPr lang="fr-FR" b="1" dirty="0">
              <a:solidFill>
                <a:srgbClr val="3399FF"/>
              </a:solidFill>
              <a:latin typeface="Cooper Black" pitchFamily="18" charset="0"/>
            </a:endParaRPr>
          </a:p>
        </p:txBody>
      </p:sp>
      <p:sp>
        <p:nvSpPr>
          <p:cNvPr id="16" name="Titre 2"/>
          <p:cNvSpPr txBox="1">
            <a:spLocks/>
          </p:cNvSpPr>
          <p:nvPr/>
        </p:nvSpPr>
        <p:spPr bwMode="black">
          <a:xfrm>
            <a:off x="2095480" y="2000240"/>
            <a:ext cx="5715040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4800" dirty="0" smtClean="0">
                <a:latin typeface="+mn-lt"/>
              </a:rPr>
              <a:t>Merci</a:t>
            </a:r>
            <a:endParaRPr lang="fr-FR" dirty="0"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6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hevron 24"/>
          <p:cNvSpPr/>
          <p:nvPr/>
        </p:nvSpPr>
        <p:spPr>
          <a:xfrm rot="10800000">
            <a:off x="9529604" y="3712765"/>
            <a:ext cx="363876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pgemini Maroc</a:t>
            </a:r>
            <a:endParaRPr lang="fr-FR" dirty="0"/>
          </a:p>
        </p:txBody>
      </p:sp>
      <p:sp>
        <p:nvSpPr>
          <p:cNvPr id="4" name="Titre 2"/>
          <p:cNvSpPr txBox="1">
            <a:spLocks/>
          </p:cNvSpPr>
          <p:nvPr/>
        </p:nvSpPr>
        <p:spPr bwMode="black">
          <a:xfrm>
            <a:off x="1208584" y="2420888"/>
            <a:ext cx="3240360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4800" dirty="0" smtClean="0">
                <a:latin typeface="+mn-lt"/>
              </a:rPr>
              <a:t>Création :</a:t>
            </a:r>
            <a:endParaRPr lang="fr-FR" dirty="0">
              <a:latin typeface="+mn-lt"/>
            </a:endParaRPr>
          </a:p>
        </p:txBody>
      </p:sp>
      <p:sp>
        <p:nvSpPr>
          <p:cNvPr id="5" name="Titre 2"/>
          <p:cNvSpPr txBox="1">
            <a:spLocks/>
          </p:cNvSpPr>
          <p:nvPr/>
        </p:nvSpPr>
        <p:spPr bwMode="black">
          <a:xfrm>
            <a:off x="4592960" y="2510898"/>
            <a:ext cx="3672408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4800" dirty="0" smtClean="0">
                <a:latin typeface="+mn-lt"/>
              </a:rPr>
              <a:t>Avril 2007</a:t>
            </a:r>
            <a:endParaRPr lang="fr-FR" dirty="0">
              <a:latin typeface="+mn-lt"/>
            </a:endParaRPr>
          </a:p>
        </p:txBody>
      </p:sp>
      <p:sp>
        <p:nvSpPr>
          <p:cNvPr id="6" name="Titre 2"/>
          <p:cNvSpPr txBox="1">
            <a:spLocks/>
          </p:cNvSpPr>
          <p:nvPr/>
        </p:nvSpPr>
        <p:spPr bwMode="black">
          <a:xfrm>
            <a:off x="1208584" y="3140968"/>
            <a:ext cx="3240360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4800" dirty="0" smtClean="0">
                <a:latin typeface="+mn-lt"/>
              </a:rPr>
              <a:t>Effectif :</a:t>
            </a:r>
            <a:endParaRPr lang="fr-FR" dirty="0">
              <a:latin typeface="+mn-lt"/>
            </a:endParaRPr>
          </a:p>
        </p:txBody>
      </p:sp>
      <p:sp>
        <p:nvSpPr>
          <p:cNvPr id="7" name="Titre 2"/>
          <p:cNvSpPr txBox="1">
            <a:spLocks/>
          </p:cNvSpPr>
          <p:nvPr/>
        </p:nvSpPr>
        <p:spPr bwMode="black">
          <a:xfrm>
            <a:off x="4592961" y="3230978"/>
            <a:ext cx="2864768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4800" dirty="0" smtClean="0">
                <a:latin typeface="+mn-lt"/>
              </a:rPr>
              <a:t>~630</a:t>
            </a:r>
            <a:endParaRPr lang="fr-FR" dirty="0">
              <a:latin typeface="+mn-lt"/>
            </a:endParaRPr>
          </a:p>
        </p:txBody>
      </p:sp>
      <p:sp>
        <p:nvSpPr>
          <p:cNvPr id="8" name="Titre 2"/>
          <p:cNvSpPr txBox="1">
            <a:spLocks/>
          </p:cNvSpPr>
          <p:nvPr/>
        </p:nvSpPr>
        <p:spPr bwMode="black">
          <a:xfrm>
            <a:off x="1064568" y="4023066"/>
            <a:ext cx="3240360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4800" dirty="0" smtClean="0">
                <a:latin typeface="+mn-lt"/>
              </a:rPr>
              <a:t>Activité :</a:t>
            </a:r>
            <a:endParaRPr lang="fr-FR" dirty="0">
              <a:latin typeface="+mn-lt"/>
            </a:endParaRPr>
          </a:p>
        </p:txBody>
      </p:sp>
      <p:sp>
        <p:nvSpPr>
          <p:cNvPr id="9" name="Titre 2"/>
          <p:cNvSpPr txBox="1">
            <a:spLocks/>
          </p:cNvSpPr>
          <p:nvPr/>
        </p:nvSpPr>
        <p:spPr bwMode="black">
          <a:xfrm>
            <a:off x="4592959" y="4023066"/>
            <a:ext cx="3312368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32000" rIns="36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4800" dirty="0" err="1" smtClean="0">
                <a:latin typeface="+mn-lt"/>
              </a:rPr>
              <a:t>Offshoring</a:t>
            </a:r>
            <a:endParaRPr lang="fr-FR" dirty="0">
              <a:latin typeface="+mn-lt"/>
            </a:endParaRPr>
          </a:p>
        </p:txBody>
      </p:sp>
      <p:sp>
        <p:nvSpPr>
          <p:cNvPr id="26" name="Chevron 25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8" name="Chevron 27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0" name="Rectangle 29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31" name="Rectangle 30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4" name="Chevron 33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5" name="Rectangle 34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6" name="Chevron 35"/>
          <p:cNvSpPr/>
          <p:nvPr/>
        </p:nvSpPr>
        <p:spPr>
          <a:xfrm rot="10800000">
            <a:off x="7167578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7" name="Chevron 36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8" name="Rectangle 37"/>
          <p:cNvSpPr/>
          <p:nvPr/>
        </p:nvSpPr>
        <p:spPr>
          <a:xfrm>
            <a:off x="7229030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9" name="Rectangle 38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40" name="Chevron 39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41" name="Rectangle 40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</p:spTree>
    <p:extLst>
      <p:ext uri="{BB962C8B-B14F-4D97-AF65-F5344CB8AC3E}">
        <p14:creationId xmlns:p14="http://schemas.microsoft.com/office/powerpoint/2010/main" val="1988140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hevron 19"/>
          <p:cNvSpPr/>
          <p:nvPr/>
        </p:nvSpPr>
        <p:spPr>
          <a:xfrm rot="10800000">
            <a:off x="9529604" y="3712765"/>
            <a:ext cx="363876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9" name="Chevron 18"/>
          <p:cNvSpPr/>
          <p:nvPr/>
        </p:nvSpPr>
        <p:spPr>
          <a:xfrm rot="10800000">
            <a:off x="9546052" y="2714621"/>
            <a:ext cx="276506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pgemini Maroc  : Porte feuille client</a:t>
            </a:r>
            <a:endParaRPr lang="fr-FR" dirty="0"/>
          </a:p>
        </p:txBody>
      </p:sp>
      <p:pic>
        <p:nvPicPr>
          <p:cNvPr id="3" name="Image 2" descr="D:\Documents and Settings\azitou\Bureau\clients.png"/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1181097" y="2133598"/>
            <a:ext cx="7200927" cy="3438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hevron 3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6" name="Chevron 5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10" name="Rectangle 9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13" name="Chevron 12"/>
          <p:cNvSpPr/>
          <p:nvPr/>
        </p:nvSpPr>
        <p:spPr>
          <a:xfrm rot="10800000">
            <a:off x="7167578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4" name="Chevron 13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5" name="Rectangle 14"/>
          <p:cNvSpPr/>
          <p:nvPr/>
        </p:nvSpPr>
        <p:spPr>
          <a:xfrm>
            <a:off x="7229030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17" name="Chevron 16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18" name="Rectangle 17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evron 17"/>
          <p:cNvSpPr/>
          <p:nvPr/>
        </p:nvSpPr>
        <p:spPr>
          <a:xfrm rot="10800000">
            <a:off x="9554228" y="2712632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</a:t>
            </a:r>
            <a:r>
              <a:rPr lang="fr-FR" dirty="0" err="1" smtClean="0"/>
              <a:t>Skill</a:t>
            </a:r>
            <a:r>
              <a:rPr lang="fr-FR" dirty="0" smtClean="0"/>
              <a:t> groupes de Capgemini Maroc</a:t>
            </a:r>
            <a:endParaRPr lang="fr-FR" dirty="0"/>
          </a:p>
        </p:txBody>
      </p:sp>
      <p:graphicFrame>
        <p:nvGraphicFramePr>
          <p:cNvPr id="4" name="Diagramme 3"/>
          <p:cNvGraphicFramePr/>
          <p:nvPr>
            <p:extLst>
              <p:ext uri="{D42A27DB-BD31-4B8C-83A1-F6EECF244321}">
                <p14:modId xmlns:p14="http://schemas.microsoft.com/office/powerpoint/2010/main" val="655083665"/>
              </p:ext>
            </p:extLst>
          </p:nvPr>
        </p:nvGraphicFramePr>
        <p:xfrm>
          <a:off x="809596" y="1124744"/>
          <a:ext cx="8136904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Ellipse 4"/>
          <p:cNvSpPr/>
          <p:nvPr/>
        </p:nvSpPr>
        <p:spPr>
          <a:xfrm>
            <a:off x="5025009" y="5013176"/>
            <a:ext cx="1584176" cy="1584176"/>
          </a:xfrm>
          <a:prstGeom prst="ellipse">
            <a:avLst/>
          </a:prstGeom>
          <a:ln/>
          <a:effectLst>
            <a:glow rad="101600">
              <a:srgbClr val="0070C0">
                <a:alpha val="6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1300" b="1" dirty="0">
                <a:solidFill>
                  <a:schemeClr val="tx1"/>
                </a:solidFill>
              </a:rPr>
              <a:t>Industrie et Distribution </a:t>
            </a:r>
            <a:r>
              <a:rPr lang="fr-FR" sz="1300" dirty="0">
                <a:solidFill>
                  <a:schemeClr val="tx1"/>
                </a:solidFill>
              </a:rPr>
              <a:t/>
            </a:r>
            <a:br>
              <a:rPr lang="fr-FR" sz="1300" dirty="0">
                <a:solidFill>
                  <a:schemeClr val="tx1"/>
                </a:solidFill>
              </a:rPr>
            </a:br>
            <a:r>
              <a:rPr lang="fr-FR" sz="1300" dirty="0">
                <a:solidFill>
                  <a:schemeClr val="tx1"/>
                </a:solidFill>
              </a:rPr>
              <a:t>Mouncef </a:t>
            </a:r>
            <a:r>
              <a:rPr lang="fr-FR" sz="1300" dirty="0" err="1">
                <a:solidFill>
                  <a:schemeClr val="tx1"/>
                </a:solidFill>
              </a:rPr>
              <a:t>Nejjary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22" name="Chevron 21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Chevron 22"/>
          <p:cNvSpPr/>
          <p:nvPr/>
        </p:nvSpPr>
        <p:spPr>
          <a:xfrm rot="10800000">
            <a:off x="9529604" y="3712765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4" name="Chevron 23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6" name="Rectangle 25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7" name="Rectangle 26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30" name="Rectangle 29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1" name="Chevron 30"/>
          <p:cNvSpPr/>
          <p:nvPr/>
        </p:nvSpPr>
        <p:spPr>
          <a:xfrm rot="10800000">
            <a:off x="7167578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Chevron 31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3" name="Rectangle 32"/>
          <p:cNvSpPr/>
          <p:nvPr/>
        </p:nvSpPr>
        <p:spPr>
          <a:xfrm>
            <a:off x="7229030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5" name="Chevron 34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6" name="Rectangle 35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</p:spTree>
    <p:extLst>
      <p:ext uri="{BB962C8B-B14F-4D97-AF65-F5344CB8AC3E}">
        <p14:creationId xmlns:p14="http://schemas.microsoft.com/office/powerpoint/2010/main" val="1016935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hevron 19"/>
          <p:cNvSpPr/>
          <p:nvPr/>
        </p:nvSpPr>
        <p:spPr>
          <a:xfrm rot="10800000">
            <a:off x="9596470" y="27146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ojet SNCF Fret</a:t>
            </a:r>
            <a:endParaRPr lang="fr-FR" dirty="0"/>
          </a:p>
        </p:txBody>
      </p:sp>
      <p:pic>
        <p:nvPicPr>
          <p:cNvPr id="6146" name="Picture 2" descr="http://marcschlei.free.fr/Train/phototrain/sncf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6137920"/>
            <a:ext cx="1380703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595282" y="2143116"/>
            <a:ext cx="872714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Clr>
                <a:schemeClr val="tx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dirty="0"/>
              <a:t>Le FRET SNCF est le premier transporteur de marchandises en </a:t>
            </a:r>
            <a:r>
              <a:rPr lang="fr-FR" dirty="0" smtClean="0"/>
              <a:t>France</a:t>
            </a:r>
            <a:r>
              <a:rPr lang="fr-FR" dirty="0" smtClean="0"/>
              <a:t/>
            </a:r>
            <a:br>
              <a:rPr lang="fr-FR" dirty="0" smtClean="0"/>
            </a:br>
            <a:endParaRPr lang="fr-FR" dirty="0" smtClean="0"/>
          </a:p>
          <a:p>
            <a:pPr marL="342900" indent="-342900"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fr-FR" sz="2000" dirty="0"/>
              <a:t>le 2e transporteur ferroviaire en Europe</a:t>
            </a:r>
            <a:br>
              <a:rPr lang="fr-FR" sz="2000" dirty="0"/>
            </a:br>
            <a:endParaRPr lang="fr-FR" sz="2000" dirty="0" smtClean="0"/>
          </a:p>
          <a:p>
            <a:pPr marL="342900" lvl="0" indent="-342900"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fr-FR" sz="2000" dirty="0" smtClean="0"/>
              <a:t>1999 </a:t>
            </a:r>
            <a:r>
              <a:rPr lang="fr-FR" dirty="0"/>
              <a:t>: Capgemini remporte l’appel d’offre SNCF </a:t>
            </a:r>
            <a:r>
              <a:rPr lang="fr-FR" dirty="0" smtClean="0"/>
              <a:t>FRET</a:t>
            </a:r>
            <a:br>
              <a:rPr lang="fr-FR" dirty="0" smtClean="0"/>
            </a:br>
            <a:endParaRPr lang="fr-FR" dirty="0"/>
          </a:p>
          <a:p>
            <a:pPr marL="342900" lvl="0" indent="-342900"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fr-FR" sz="2000" dirty="0"/>
              <a:t>Mai 2012</a:t>
            </a:r>
            <a:r>
              <a:rPr lang="fr-FR" dirty="0"/>
              <a:t> : renouvellement du contrat pour </a:t>
            </a:r>
            <a:r>
              <a:rPr lang="fr-FR" b="1" dirty="0"/>
              <a:t>5 ans</a:t>
            </a:r>
            <a:r>
              <a:rPr lang="fr-FR" b="1" dirty="0" smtClean="0"/>
              <a:t>.</a:t>
            </a:r>
            <a:br>
              <a:rPr lang="fr-FR" b="1" dirty="0" smtClean="0"/>
            </a:br>
            <a:endParaRPr lang="fr-FR" b="1" dirty="0"/>
          </a:p>
          <a:p>
            <a:pPr marL="285750" indent="-285750">
              <a:buClr>
                <a:schemeClr val="tx2"/>
              </a:buClr>
              <a:buFont typeface="Wingdings" pitchFamily="2" charset="2"/>
              <a:buChar char="§"/>
            </a:pPr>
            <a:r>
              <a:rPr lang="fr-FR" dirty="0" smtClean="0"/>
              <a:t>Les </a:t>
            </a:r>
            <a:r>
              <a:rPr lang="fr-FR" dirty="0"/>
              <a:t>2 SI (</a:t>
            </a:r>
            <a:r>
              <a:rPr lang="fr-FR" b="1" u="sng" dirty="0"/>
              <a:t>12 millions de lignes de codes</a:t>
            </a:r>
            <a:r>
              <a:rPr lang="fr-FR" dirty="0"/>
              <a:t>) sont très fortement couplé avec d’autres </a:t>
            </a:r>
            <a:r>
              <a:rPr lang="fr-FR" dirty="0" smtClean="0"/>
              <a:t>SI</a:t>
            </a:r>
            <a:br>
              <a:rPr lang="fr-FR" dirty="0" smtClean="0"/>
            </a:br>
            <a:endParaRPr lang="fr-FR" dirty="0"/>
          </a:p>
          <a:p>
            <a:pPr marL="285750" lvl="0" indent="-285750"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fr-FR" dirty="0"/>
              <a:t>Technologies mises en œuvre : </a:t>
            </a:r>
            <a:r>
              <a:rPr lang="fr-FR" b="1" dirty="0" smtClean="0"/>
              <a:t>JEE</a:t>
            </a:r>
            <a:r>
              <a:rPr lang="fr-FR" dirty="0"/>
              <a:t>, Flex, C, C++, </a:t>
            </a:r>
            <a:r>
              <a:rPr lang="fr-FR" dirty="0" smtClean="0"/>
              <a:t>..</a:t>
            </a:r>
            <a:r>
              <a:rPr lang="fr-FR" dirty="0" err="1" smtClean="0"/>
              <a:t>etc</a:t>
            </a:r>
            <a:endParaRPr lang="fr-FR" dirty="0"/>
          </a:p>
        </p:txBody>
      </p:sp>
      <p:sp>
        <p:nvSpPr>
          <p:cNvPr id="21" name="Chevron 20"/>
          <p:cNvSpPr/>
          <p:nvPr/>
        </p:nvSpPr>
        <p:spPr>
          <a:xfrm rot="10800000">
            <a:off x="9538748" y="3214687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2" name="Chevron 21"/>
          <p:cNvSpPr/>
          <p:nvPr/>
        </p:nvSpPr>
        <p:spPr>
          <a:xfrm rot="10800000">
            <a:off x="9529604" y="3712765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3" name="Chevron 22"/>
          <p:cNvSpPr/>
          <p:nvPr/>
        </p:nvSpPr>
        <p:spPr>
          <a:xfrm rot="10800000">
            <a:off x="9540512" y="4214820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25" name="Rectangle 24"/>
          <p:cNvSpPr/>
          <p:nvPr/>
        </p:nvSpPr>
        <p:spPr>
          <a:xfrm>
            <a:off x="9600200" y="3234564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5- Etude de l’existant </a:t>
            </a:r>
            <a:endParaRPr lang="fr-FR" dirty="0"/>
          </a:p>
        </p:txBody>
      </p:sp>
      <p:sp>
        <p:nvSpPr>
          <p:cNvPr id="26" name="Rectangle 25"/>
          <p:cNvSpPr/>
          <p:nvPr/>
        </p:nvSpPr>
        <p:spPr>
          <a:xfrm>
            <a:off x="9610139" y="3744569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6-Mise en œuvre de la solution 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600200" y="4244635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7- Bilan</a:t>
            </a:r>
            <a:endParaRPr lang="fr-FR" dirty="0"/>
          </a:p>
        </p:txBody>
      </p:sp>
      <p:sp>
        <p:nvSpPr>
          <p:cNvPr id="29" name="Rectangle 28"/>
          <p:cNvSpPr/>
          <p:nvPr/>
        </p:nvSpPr>
        <p:spPr>
          <a:xfrm>
            <a:off x="9607504" y="2734498"/>
            <a:ext cx="2274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4-Contexte du projet</a:t>
            </a:r>
          </a:p>
        </p:txBody>
      </p:sp>
      <p:sp>
        <p:nvSpPr>
          <p:cNvPr id="30" name="Chevron 29"/>
          <p:cNvSpPr/>
          <p:nvPr/>
        </p:nvSpPr>
        <p:spPr>
          <a:xfrm rot="10800000">
            <a:off x="7167578" y="1714489"/>
            <a:ext cx="2705500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1" name="Chevron 30"/>
          <p:cNvSpPr/>
          <p:nvPr/>
        </p:nvSpPr>
        <p:spPr>
          <a:xfrm rot="10800000">
            <a:off x="9525032" y="2212567"/>
            <a:ext cx="2428892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2" name="Rectangle 31"/>
          <p:cNvSpPr/>
          <p:nvPr/>
        </p:nvSpPr>
        <p:spPr>
          <a:xfrm>
            <a:off x="7229030" y="1734367"/>
            <a:ext cx="25956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/>
              <a:t>2-L’organisme d’accueil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605567" y="2244371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3-Planification du projet</a:t>
            </a:r>
            <a:endParaRPr lang="fr-FR" dirty="0"/>
          </a:p>
        </p:txBody>
      </p:sp>
      <p:sp>
        <p:nvSpPr>
          <p:cNvPr id="34" name="Chevron 33"/>
          <p:cNvSpPr/>
          <p:nvPr/>
        </p:nvSpPr>
        <p:spPr>
          <a:xfrm rot="10800000">
            <a:off x="9541480" y="1214423"/>
            <a:ext cx="2042506" cy="430616"/>
          </a:xfrm>
          <a:prstGeom prst="chevron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sp>
      <p:sp>
        <p:nvSpPr>
          <p:cNvPr id="35" name="Rectangle 34"/>
          <p:cNvSpPr/>
          <p:nvPr/>
        </p:nvSpPr>
        <p:spPr>
          <a:xfrm>
            <a:off x="9602932" y="1234300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/>
              <a:t>1-Introduction</a:t>
            </a:r>
          </a:p>
        </p:txBody>
      </p:sp>
    </p:spTree>
    <p:extLst>
      <p:ext uri="{BB962C8B-B14F-4D97-AF65-F5344CB8AC3E}">
        <p14:creationId xmlns:p14="http://schemas.microsoft.com/office/powerpoint/2010/main" val="2907326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1011_ppt_template_interne_avec_boiler_plate_fran__ais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07</TotalTime>
  <Words>2403</Words>
  <Application>Microsoft Office PowerPoint</Application>
  <PresentationFormat>Format A4 (210 x 297 mm)</PresentationFormat>
  <Paragraphs>963</Paragraphs>
  <Slides>53</Slides>
  <Notes>26</Notes>
  <HiddenSlides>0</HiddenSlides>
  <MMClips>0</MMClips>
  <ScaleCrop>false</ScaleCrop>
  <HeadingPairs>
    <vt:vector size="4" baseType="variant">
      <vt:variant>
        <vt:lpstr>Thème</vt:lpstr>
      </vt:variant>
      <vt:variant>
        <vt:i4>2</vt:i4>
      </vt:variant>
      <vt:variant>
        <vt:lpstr>Titres des diapositives</vt:lpstr>
      </vt:variant>
      <vt:variant>
        <vt:i4>53</vt:i4>
      </vt:variant>
    </vt:vector>
  </HeadingPairs>
  <TitlesOfParts>
    <vt:vector size="55" baseType="lpstr">
      <vt:lpstr>1011_ppt_template_interne_avec_boiler_plate_fran__ais</vt:lpstr>
      <vt:lpstr>Conception personnalisée</vt:lpstr>
      <vt:lpstr>ANALYSE, organisation ET OPTIMISATION DU PROCESSUS DE développement applicatif du projet SNCF-Fret</vt:lpstr>
      <vt:lpstr>Plan</vt:lpstr>
      <vt:lpstr>Introduction</vt:lpstr>
      <vt:lpstr>Présentation PowerPoint</vt:lpstr>
      <vt:lpstr>L’organisme d’accueil</vt:lpstr>
      <vt:lpstr>Capgemini Maroc</vt:lpstr>
      <vt:lpstr>Capgemini Maroc  : Porte feuille client</vt:lpstr>
      <vt:lpstr>Les Skill groupes de Capgemini Maroc</vt:lpstr>
      <vt:lpstr>Projet SNCF Fret</vt:lpstr>
      <vt:lpstr>Projet SNCF Fret</vt:lpstr>
      <vt:lpstr>But du projet </vt:lpstr>
      <vt:lpstr>Phases du projet</vt:lpstr>
      <vt:lpstr>Présentation PowerPoint</vt:lpstr>
      <vt:lpstr>Présentation PowerPoint</vt:lpstr>
      <vt:lpstr>Planning prévisionnel</vt:lpstr>
      <vt:lpstr>Planning réel </vt:lpstr>
      <vt:lpstr>Collecte de l’information</vt:lpstr>
      <vt:lpstr>Communication</vt:lpstr>
      <vt:lpstr>Présentation PowerPoint</vt:lpstr>
      <vt:lpstr>Lean Management</vt:lpstr>
      <vt:lpstr>Lean Management : Gaspillages</vt:lpstr>
      <vt:lpstr>Lean Management &amp; Capgemini </vt:lpstr>
      <vt:lpstr>Mon Projet : VALEURS </vt:lpstr>
      <vt:lpstr>Cycle de vie d’un projet</vt:lpstr>
      <vt:lpstr>Présentation PowerPoint</vt:lpstr>
      <vt:lpstr>Modélisation du processus basé sur du BPM </vt:lpstr>
      <vt:lpstr>BPM : Etapes</vt:lpstr>
      <vt:lpstr>Processus Actuel : ASIS</vt:lpstr>
      <vt:lpstr>Critique du Processus Actuel</vt:lpstr>
      <vt:lpstr>Critique du Processus Actuel</vt:lpstr>
      <vt:lpstr>Présentation PowerPoint</vt:lpstr>
      <vt:lpstr>Améliorations proposées : ToBe</vt:lpstr>
      <vt:lpstr>Synthèse</vt:lpstr>
      <vt:lpstr>Qualité</vt:lpstr>
      <vt:lpstr>Qualité : ISO 9126</vt:lpstr>
      <vt:lpstr>Qualité : Maintenabilité</vt:lpstr>
      <vt:lpstr>Qualité : Maintenabilité</vt:lpstr>
      <vt:lpstr>Gabarit du manuel de qualité</vt:lpstr>
      <vt:lpstr>Outillage : Qualité </vt:lpstr>
      <vt:lpstr>Outils : CheckStyle</vt:lpstr>
      <vt:lpstr>Outillage : Qualité </vt:lpstr>
      <vt:lpstr>Documentation Technique</vt:lpstr>
      <vt:lpstr>Doct : Orchestre</vt:lpstr>
      <vt:lpstr>Architecture physique DocT</vt:lpstr>
      <vt:lpstr>Architecture physique DocT</vt:lpstr>
      <vt:lpstr>Le modèle 4 vue + 1  </vt:lpstr>
      <vt:lpstr>Doct   Exemple 1 :  Notification</vt:lpstr>
      <vt:lpstr>Doct   Exemple 2 :  IHM ( Struts)</vt:lpstr>
      <vt:lpstr>Outillage DocT</vt:lpstr>
      <vt:lpstr>Outillage : GED</vt:lpstr>
      <vt:lpstr>Présentation PowerPoint</vt:lpstr>
      <vt:lpstr>Bilan &amp; Perspective</vt:lpstr>
      <vt:lpstr>Présentation PowerPoint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CHASSAGNE Frédéric (fchassag)</dc:creator>
  <cp:lastModifiedBy>Badr-Eddine</cp:lastModifiedBy>
  <cp:revision>501</cp:revision>
  <dcterms:created xsi:type="dcterms:W3CDTF">2012-05-16T13:39:00Z</dcterms:created>
  <dcterms:modified xsi:type="dcterms:W3CDTF">2012-09-29T20:11:58Z</dcterms:modified>
</cp:coreProperties>
</file>